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1.xml" ContentType="application/vnd.openxmlformats-officedocument.presentationml.tags+xml"/>
  <Override PartName="/ppt/tags/tag92.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1"/>
    <p:sldMasterId id="2147483697" r:id="rId2"/>
  </p:sldMasterIdLst>
  <p:notesMasterIdLst>
    <p:notesMasterId r:id="rId33"/>
  </p:notesMasterIdLst>
  <p:handoutMasterIdLst>
    <p:handoutMasterId r:id="rId34"/>
  </p:handoutMasterIdLst>
  <p:sldIdLst>
    <p:sldId id="380" r:id="rId3"/>
    <p:sldId id="381" r:id="rId4"/>
    <p:sldId id="382" r:id="rId5"/>
    <p:sldId id="406" r:id="rId6"/>
    <p:sldId id="383" r:id="rId7"/>
    <p:sldId id="384" r:id="rId8"/>
    <p:sldId id="385" r:id="rId9"/>
    <p:sldId id="407" r:id="rId10"/>
    <p:sldId id="386" r:id="rId11"/>
    <p:sldId id="387" r:id="rId12"/>
    <p:sldId id="388" r:id="rId13"/>
    <p:sldId id="389" r:id="rId14"/>
    <p:sldId id="408" r:id="rId15"/>
    <p:sldId id="390" r:id="rId16"/>
    <p:sldId id="391" r:id="rId17"/>
    <p:sldId id="392" r:id="rId18"/>
    <p:sldId id="409" r:id="rId19"/>
    <p:sldId id="393" r:id="rId20"/>
    <p:sldId id="394" r:id="rId21"/>
    <p:sldId id="395" r:id="rId22"/>
    <p:sldId id="396" r:id="rId23"/>
    <p:sldId id="397" r:id="rId24"/>
    <p:sldId id="398" r:id="rId25"/>
    <p:sldId id="399" r:id="rId26"/>
    <p:sldId id="400" r:id="rId27"/>
    <p:sldId id="401" r:id="rId28"/>
    <p:sldId id="402" r:id="rId29"/>
    <p:sldId id="403" r:id="rId30"/>
    <p:sldId id="404" r:id="rId31"/>
    <p:sldId id="262" r:id="rId32"/>
  </p:sldIdLst>
  <p:sldSz cx="12192000" cy="6858000"/>
  <p:notesSz cx="6858000" cy="9144000"/>
  <p:custDataLst>
    <p:tags r:id="rId35"/>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8FFF"/>
    <a:srgbClr val="004C14"/>
    <a:srgbClr val="8B73FF"/>
    <a:srgbClr val="13C045"/>
    <a:srgbClr val="002A6C"/>
    <a:srgbClr val="5B76A0"/>
    <a:srgbClr val="0065E0"/>
    <a:srgbClr val="96C5FA"/>
    <a:srgbClr val="969696"/>
    <a:srgbClr val="FC95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94057" autoAdjust="0"/>
  </p:normalViewPr>
  <p:slideViewPr>
    <p:cSldViewPr snapToGrid="0">
      <p:cViewPr>
        <p:scale>
          <a:sx n="50" d="100"/>
          <a:sy n="50" d="100"/>
        </p:scale>
        <p:origin x="1284" y="316"/>
      </p:cViewPr>
      <p:guideLst/>
    </p:cSldViewPr>
  </p:slideViewPr>
  <p:outlineViewPr>
    <p:cViewPr>
      <p:scale>
        <a:sx n="33" d="100"/>
        <a:sy n="33" d="100"/>
      </p:scale>
      <p:origin x="0" y="-16532"/>
    </p:cViewPr>
  </p:outlineViewPr>
  <p:notesTextViewPr>
    <p:cViewPr>
      <p:scale>
        <a:sx n="1" d="1"/>
        <a:sy n="1" d="1"/>
      </p:scale>
      <p:origin x="0" y="0"/>
    </p:cViewPr>
  </p:notesTextViewPr>
  <p:sorterViewPr>
    <p:cViewPr>
      <p:scale>
        <a:sx n="25" d="100"/>
        <a:sy n="25" d="100"/>
      </p:scale>
      <p:origin x="0" y="0"/>
    </p:cViewPr>
  </p:sorterViewPr>
  <p:notesViewPr>
    <p:cSldViewPr snapToGrid="0">
      <p:cViewPr varScale="1">
        <p:scale>
          <a:sx n="49" d="100"/>
          <a:sy n="49" d="100"/>
        </p:scale>
        <p:origin x="1884"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FB6541-C766-4617-B4E0-4DA7CC3B7F33}" type="doc">
      <dgm:prSet loTypeId="urn:microsoft.com/office/officeart/2005/8/layout/cycle6" loCatId="cycle" qsTypeId="urn:microsoft.com/office/officeart/2005/8/quickstyle/3d3" qsCatId="3D" csTypeId="urn:microsoft.com/office/officeart/2005/8/colors/accent1_2" csCatId="accent1" phldr="1"/>
      <dgm:spPr/>
      <dgm:t>
        <a:bodyPr/>
        <a:lstStyle/>
        <a:p>
          <a:endParaRPr lang="es-CL"/>
        </a:p>
      </dgm:t>
    </dgm:pt>
    <dgm:pt modelId="{1C4EF07E-462B-4BF1-9C5D-B6154000F98E}">
      <dgm:prSet phldrT="[Texto]" custT="1"/>
      <dgm:spPr>
        <a:solidFill>
          <a:srgbClr val="13C045"/>
        </a:solidFill>
      </dgm:spPr>
      <dgm:t>
        <a:bodyPr/>
        <a:lstStyle/>
        <a:p>
          <a:r>
            <a:rPr lang="es-CL" sz="1200" b="1" dirty="0"/>
            <a:t>Manipulación manual  de cargas</a:t>
          </a:r>
        </a:p>
      </dgm:t>
    </dgm:pt>
    <dgm:pt modelId="{AB666733-D073-46FF-9355-94CAF666ADD4}" type="parTrans" cxnId="{66FA6860-893E-41F0-8783-16454CB91B41}">
      <dgm:prSet/>
      <dgm:spPr/>
      <dgm:t>
        <a:bodyPr/>
        <a:lstStyle/>
        <a:p>
          <a:endParaRPr lang="es-CL" sz="1200"/>
        </a:p>
      </dgm:t>
    </dgm:pt>
    <dgm:pt modelId="{3D32144B-AA89-4443-A290-0F38A7233407}" type="sibTrans" cxnId="{66FA6860-893E-41F0-8783-16454CB91B41}">
      <dgm:prSet custT="1"/>
      <dgm:spPr>
        <a:ln w="19050">
          <a:solidFill>
            <a:schemeClr val="bg2">
              <a:lumMod val="50000"/>
            </a:schemeClr>
          </a:solidFill>
        </a:ln>
      </dgm:spPr>
      <dgm:t>
        <a:bodyPr/>
        <a:lstStyle/>
        <a:p>
          <a:endParaRPr lang="es-CL" sz="1200"/>
        </a:p>
      </dgm:t>
    </dgm:pt>
    <dgm:pt modelId="{4A3A56F9-F306-4628-973A-BA747A0404E5}">
      <dgm:prSet phldrT="[Texto]" custT="1"/>
      <dgm:spPr>
        <a:solidFill>
          <a:srgbClr val="13C045"/>
        </a:solidFill>
      </dgm:spPr>
      <dgm:t>
        <a:bodyPr/>
        <a:lstStyle/>
        <a:p>
          <a:r>
            <a:rPr lang="es-CL" sz="1200" b="1" dirty="0"/>
            <a:t>Postura de trabajo estática</a:t>
          </a:r>
        </a:p>
      </dgm:t>
    </dgm:pt>
    <dgm:pt modelId="{84271E3B-16F4-4B20-AF03-5F45B98BF927}" type="parTrans" cxnId="{F76887F6-5CEB-4F7B-98FE-F822CA5698C5}">
      <dgm:prSet/>
      <dgm:spPr/>
      <dgm:t>
        <a:bodyPr/>
        <a:lstStyle/>
        <a:p>
          <a:endParaRPr lang="es-CL" sz="1200"/>
        </a:p>
      </dgm:t>
    </dgm:pt>
    <dgm:pt modelId="{4BE9D8E2-B547-47E4-B708-D38E61A239CF}" type="sibTrans" cxnId="{F76887F6-5CEB-4F7B-98FE-F822CA5698C5}">
      <dgm:prSet custT="1"/>
      <dgm:spPr>
        <a:ln w="19050">
          <a:solidFill>
            <a:schemeClr val="bg2">
              <a:lumMod val="50000"/>
            </a:schemeClr>
          </a:solidFill>
        </a:ln>
      </dgm:spPr>
      <dgm:t>
        <a:bodyPr/>
        <a:lstStyle/>
        <a:p>
          <a:endParaRPr lang="es-CL" sz="1200"/>
        </a:p>
      </dgm:t>
    </dgm:pt>
    <dgm:pt modelId="{B1E3AEB1-30FC-4A94-A5AA-B26CA1602314}">
      <dgm:prSet phldrT="[Texto]" custT="1"/>
      <dgm:spPr>
        <a:solidFill>
          <a:srgbClr val="13C045"/>
        </a:solidFill>
      </dgm:spPr>
      <dgm:t>
        <a:bodyPr/>
        <a:lstStyle/>
        <a:p>
          <a:r>
            <a:rPr lang="es-CL" sz="1200" b="1" dirty="0"/>
            <a:t>Trabajo repetitivo miembros superiores</a:t>
          </a:r>
        </a:p>
      </dgm:t>
    </dgm:pt>
    <dgm:pt modelId="{993D00E6-89B6-4704-863D-50D11E17B01E}" type="parTrans" cxnId="{12E9D4A7-963C-4BFB-A1A0-41EA76C3CB6C}">
      <dgm:prSet/>
      <dgm:spPr/>
      <dgm:t>
        <a:bodyPr/>
        <a:lstStyle/>
        <a:p>
          <a:endParaRPr lang="es-CL" sz="1200"/>
        </a:p>
      </dgm:t>
    </dgm:pt>
    <dgm:pt modelId="{5BEE9970-405B-4D01-8B7B-D3B64FBC9016}" type="sibTrans" cxnId="{12E9D4A7-963C-4BFB-A1A0-41EA76C3CB6C}">
      <dgm:prSet custT="1"/>
      <dgm:spPr>
        <a:ln w="19050">
          <a:solidFill>
            <a:schemeClr val="bg2">
              <a:lumMod val="50000"/>
            </a:schemeClr>
          </a:solidFill>
        </a:ln>
      </dgm:spPr>
      <dgm:t>
        <a:bodyPr/>
        <a:lstStyle/>
        <a:p>
          <a:endParaRPr lang="es-CL" sz="1200"/>
        </a:p>
      </dgm:t>
    </dgm:pt>
    <dgm:pt modelId="{63DB9C1B-FAA8-416D-9DA2-5AFF2DB14EB5}">
      <dgm:prSet phldrT="[Texto]" custT="1"/>
      <dgm:spPr>
        <a:solidFill>
          <a:srgbClr val="13C045"/>
        </a:solidFill>
      </dgm:spPr>
      <dgm:t>
        <a:bodyPr/>
        <a:lstStyle/>
        <a:p>
          <a:r>
            <a:rPr lang="es-CL" sz="1200" b="1" dirty="0"/>
            <a:t>Vibraciones  cuerpo completo</a:t>
          </a:r>
        </a:p>
      </dgm:t>
    </dgm:pt>
    <dgm:pt modelId="{DD75D88A-055F-4671-A0FB-BC53411820D9}" type="parTrans" cxnId="{7716DEF4-FD9F-497B-91A2-73B02D0E70C3}">
      <dgm:prSet/>
      <dgm:spPr/>
      <dgm:t>
        <a:bodyPr/>
        <a:lstStyle/>
        <a:p>
          <a:endParaRPr lang="es-CL" sz="1200"/>
        </a:p>
      </dgm:t>
    </dgm:pt>
    <dgm:pt modelId="{69D3CF43-D876-4FE4-9442-7FF1980C53E4}" type="sibTrans" cxnId="{7716DEF4-FD9F-497B-91A2-73B02D0E70C3}">
      <dgm:prSet custT="1"/>
      <dgm:spPr>
        <a:ln w="19050">
          <a:solidFill>
            <a:schemeClr val="bg2">
              <a:lumMod val="50000"/>
            </a:schemeClr>
          </a:solidFill>
        </a:ln>
      </dgm:spPr>
      <dgm:t>
        <a:bodyPr/>
        <a:lstStyle/>
        <a:p>
          <a:endParaRPr lang="es-CL" sz="1200"/>
        </a:p>
      </dgm:t>
    </dgm:pt>
    <dgm:pt modelId="{51E8E48A-61D3-4411-BA88-CA9F20052467}">
      <dgm:prSet custT="1"/>
      <dgm:spPr>
        <a:solidFill>
          <a:srgbClr val="13C045"/>
        </a:solidFill>
      </dgm:spPr>
      <dgm:t>
        <a:bodyPr spcFirstLastPara="0" vert="horz" wrap="square" lIns="41910" tIns="41910" rIns="41910" bIns="41910" numCol="1" spcCol="1270" anchor="ctr" anchorCtr="0"/>
        <a:lstStyle/>
        <a:p>
          <a:pPr marL="0" lvl="0" indent="0" algn="ctr" defTabSz="488950">
            <a:lnSpc>
              <a:spcPct val="90000"/>
            </a:lnSpc>
            <a:spcBef>
              <a:spcPct val="0"/>
            </a:spcBef>
            <a:spcAft>
              <a:spcPct val="35000"/>
            </a:spcAft>
            <a:buNone/>
          </a:pPr>
          <a:r>
            <a:rPr lang="es-CL" sz="1200" b="1" kern="1200" dirty="0">
              <a:latin typeface="Arial" panose="020B0604020202020204"/>
              <a:ea typeface="+mn-ea"/>
              <a:cs typeface="+mn-cs"/>
            </a:rPr>
            <a:t>Manejo manual de pacientes/personas</a:t>
          </a:r>
        </a:p>
      </dgm:t>
    </dgm:pt>
    <dgm:pt modelId="{5FAFE945-A0A1-4528-9D73-F9EE340DC85C}" type="parTrans" cxnId="{572ECA25-C9D1-4661-A2D8-CB5F930462BC}">
      <dgm:prSet/>
      <dgm:spPr/>
      <dgm:t>
        <a:bodyPr/>
        <a:lstStyle/>
        <a:p>
          <a:endParaRPr lang="es-CL" sz="1200"/>
        </a:p>
      </dgm:t>
    </dgm:pt>
    <dgm:pt modelId="{424C4A81-EAEA-42B0-AE7D-A2DF7DB70FD4}" type="sibTrans" cxnId="{572ECA25-C9D1-4661-A2D8-CB5F930462BC}">
      <dgm:prSet/>
      <dgm:spPr>
        <a:ln w="19050">
          <a:solidFill>
            <a:schemeClr val="bg2">
              <a:lumMod val="50000"/>
            </a:schemeClr>
          </a:solidFill>
        </a:ln>
      </dgm:spPr>
      <dgm:t>
        <a:bodyPr/>
        <a:lstStyle/>
        <a:p>
          <a:endParaRPr lang="es-CL" sz="1200"/>
        </a:p>
      </dgm:t>
    </dgm:pt>
    <dgm:pt modelId="{5AEFBC72-E51D-4BDF-9659-E819594F9D61}">
      <dgm:prSet phldrT="[Texto]" custT="1"/>
      <dgm:spPr>
        <a:solidFill>
          <a:srgbClr val="13C045"/>
        </a:solidFill>
      </dgm:spPr>
      <dgm:t>
        <a:bodyPr/>
        <a:lstStyle/>
        <a:p>
          <a:r>
            <a:rPr lang="es-CL" sz="1200" b="1" dirty="0"/>
            <a:t>Vibraciones  segmento mano/brazo</a:t>
          </a:r>
        </a:p>
      </dgm:t>
    </dgm:pt>
    <dgm:pt modelId="{4BB3F6B2-8488-49EB-917D-A94F26F7F289}" type="parTrans" cxnId="{9A21FE6A-D238-423D-9A98-715251D3BEF3}">
      <dgm:prSet/>
      <dgm:spPr/>
      <dgm:t>
        <a:bodyPr/>
        <a:lstStyle/>
        <a:p>
          <a:endParaRPr lang="es-CL" sz="1200"/>
        </a:p>
      </dgm:t>
    </dgm:pt>
    <dgm:pt modelId="{AB331FE2-B419-4D59-A880-C04DBB9E240F}" type="sibTrans" cxnId="{9A21FE6A-D238-423D-9A98-715251D3BEF3}">
      <dgm:prSet/>
      <dgm:spPr>
        <a:solidFill>
          <a:schemeClr val="bg2">
            <a:lumMod val="75000"/>
          </a:schemeClr>
        </a:solidFill>
        <a:ln w="19050">
          <a:solidFill>
            <a:schemeClr val="bg2">
              <a:lumMod val="50000"/>
            </a:schemeClr>
          </a:solidFill>
        </a:ln>
      </dgm:spPr>
      <dgm:t>
        <a:bodyPr/>
        <a:lstStyle/>
        <a:p>
          <a:endParaRPr lang="es-CL" sz="1200"/>
        </a:p>
      </dgm:t>
    </dgm:pt>
    <dgm:pt modelId="{A1A2E6D6-ECFD-4D58-A762-21F5C64492C5}" type="pres">
      <dgm:prSet presAssocID="{A9FB6541-C766-4617-B4E0-4DA7CC3B7F33}" presName="cycle" presStyleCnt="0">
        <dgm:presLayoutVars>
          <dgm:dir/>
          <dgm:resizeHandles val="exact"/>
        </dgm:presLayoutVars>
      </dgm:prSet>
      <dgm:spPr/>
      <dgm:t>
        <a:bodyPr/>
        <a:lstStyle/>
        <a:p>
          <a:endParaRPr lang="es-CL"/>
        </a:p>
      </dgm:t>
    </dgm:pt>
    <dgm:pt modelId="{3B36B1FA-7FE4-4424-8C7F-ED10679A7BBB}" type="pres">
      <dgm:prSet presAssocID="{1C4EF07E-462B-4BF1-9C5D-B6154000F98E}" presName="node" presStyleLbl="node1" presStyleIdx="0" presStyleCnt="6" custScaleX="121489" custScaleY="102682">
        <dgm:presLayoutVars>
          <dgm:bulletEnabled val="1"/>
        </dgm:presLayoutVars>
      </dgm:prSet>
      <dgm:spPr/>
      <dgm:t>
        <a:bodyPr/>
        <a:lstStyle/>
        <a:p>
          <a:endParaRPr lang="es-CL"/>
        </a:p>
      </dgm:t>
    </dgm:pt>
    <dgm:pt modelId="{378DAC31-6C99-4B46-9A2A-875073E63BE4}" type="pres">
      <dgm:prSet presAssocID="{1C4EF07E-462B-4BF1-9C5D-B6154000F98E}" presName="spNode" presStyleCnt="0"/>
      <dgm:spPr/>
    </dgm:pt>
    <dgm:pt modelId="{81FD4A4A-C6E3-41F2-9AF1-0C2C11CA3463}" type="pres">
      <dgm:prSet presAssocID="{3D32144B-AA89-4443-A290-0F38A7233407}" presName="sibTrans" presStyleLbl="sibTrans1D1" presStyleIdx="0" presStyleCnt="6"/>
      <dgm:spPr/>
      <dgm:t>
        <a:bodyPr/>
        <a:lstStyle/>
        <a:p>
          <a:endParaRPr lang="es-CL"/>
        </a:p>
      </dgm:t>
    </dgm:pt>
    <dgm:pt modelId="{D85445B1-24CD-492C-8446-FEC9CAE7CBCD}" type="pres">
      <dgm:prSet presAssocID="{51E8E48A-61D3-4411-BA88-CA9F20052467}" presName="node" presStyleLbl="node1" presStyleIdx="1" presStyleCnt="6" custScaleX="122848" custScaleY="114090">
        <dgm:presLayoutVars>
          <dgm:bulletEnabled val="1"/>
        </dgm:presLayoutVars>
      </dgm:prSet>
      <dgm:spPr>
        <a:xfrm>
          <a:off x="4255367" y="1475229"/>
          <a:ext cx="1643062" cy="1067990"/>
        </a:xfrm>
        <a:prstGeom prst="roundRect">
          <a:avLst/>
        </a:prstGeom>
      </dgm:spPr>
      <dgm:t>
        <a:bodyPr/>
        <a:lstStyle/>
        <a:p>
          <a:endParaRPr lang="es-CL"/>
        </a:p>
      </dgm:t>
    </dgm:pt>
    <dgm:pt modelId="{70F031A3-D5C2-4975-A375-387B59D763CB}" type="pres">
      <dgm:prSet presAssocID="{51E8E48A-61D3-4411-BA88-CA9F20052467}" presName="spNode" presStyleCnt="0"/>
      <dgm:spPr/>
    </dgm:pt>
    <dgm:pt modelId="{194BE627-1AC5-4FF5-B0C1-681C70E8E239}" type="pres">
      <dgm:prSet presAssocID="{424C4A81-EAEA-42B0-AE7D-A2DF7DB70FD4}" presName="sibTrans" presStyleLbl="sibTrans1D1" presStyleIdx="1" presStyleCnt="6"/>
      <dgm:spPr/>
      <dgm:t>
        <a:bodyPr/>
        <a:lstStyle/>
        <a:p>
          <a:endParaRPr lang="es-CL"/>
        </a:p>
      </dgm:t>
    </dgm:pt>
    <dgm:pt modelId="{07527625-79EC-4FB6-A029-8DB327FEA2CC}" type="pres">
      <dgm:prSet presAssocID="{4A3A56F9-F306-4628-973A-BA747A0404E5}" presName="node" presStyleLbl="node1" presStyleIdx="2" presStyleCnt="6" custScaleX="121427" custScaleY="106434" custRadScaleRad="98312" custRadScaleInc="-19534">
        <dgm:presLayoutVars>
          <dgm:bulletEnabled val="1"/>
        </dgm:presLayoutVars>
      </dgm:prSet>
      <dgm:spPr/>
      <dgm:t>
        <a:bodyPr/>
        <a:lstStyle/>
        <a:p>
          <a:endParaRPr lang="es-CL"/>
        </a:p>
      </dgm:t>
    </dgm:pt>
    <dgm:pt modelId="{9063ADFC-B9EC-4590-BE9F-626B0CF9CA8A}" type="pres">
      <dgm:prSet presAssocID="{4A3A56F9-F306-4628-973A-BA747A0404E5}" presName="spNode" presStyleCnt="0"/>
      <dgm:spPr/>
    </dgm:pt>
    <dgm:pt modelId="{B84CF607-6805-491F-8660-C2CB462815A5}" type="pres">
      <dgm:prSet presAssocID="{4BE9D8E2-B547-47E4-B708-D38E61A239CF}" presName="sibTrans" presStyleLbl="sibTrans1D1" presStyleIdx="2" presStyleCnt="6"/>
      <dgm:spPr/>
      <dgm:t>
        <a:bodyPr/>
        <a:lstStyle/>
        <a:p>
          <a:endParaRPr lang="es-CL"/>
        </a:p>
      </dgm:t>
    </dgm:pt>
    <dgm:pt modelId="{8C6B2CE5-F8DB-4AEC-AD67-06B638E1C98A}" type="pres">
      <dgm:prSet presAssocID="{B1E3AEB1-30FC-4A94-A5AA-B26CA1602314}" presName="node" presStyleLbl="node1" presStyleIdx="3" presStyleCnt="6" custScaleX="121441" custScaleY="95206">
        <dgm:presLayoutVars>
          <dgm:bulletEnabled val="1"/>
        </dgm:presLayoutVars>
      </dgm:prSet>
      <dgm:spPr/>
      <dgm:t>
        <a:bodyPr/>
        <a:lstStyle/>
        <a:p>
          <a:endParaRPr lang="es-CL"/>
        </a:p>
      </dgm:t>
    </dgm:pt>
    <dgm:pt modelId="{A9B38014-9ECF-4754-94F9-D0EC4C2B8C5A}" type="pres">
      <dgm:prSet presAssocID="{B1E3AEB1-30FC-4A94-A5AA-B26CA1602314}" presName="spNode" presStyleCnt="0"/>
      <dgm:spPr/>
    </dgm:pt>
    <dgm:pt modelId="{C61EC8FA-1C57-4508-BA3A-52D3BCAA4B3B}" type="pres">
      <dgm:prSet presAssocID="{5BEE9970-405B-4D01-8B7B-D3B64FBC9016}" presName="sibTrans" presStyleLbl="sibTrans1D1" presStyleIdx="3" presStyleCnt="6"/>
      <dgm:spPr/>
      <dgm:t>
        <a:bodyPr/>
        <a:lstStyle/>
        <a:p>
          <a:endParaRPr lang="es-CL"/>
        </a:p>
      </dgm:t>
    </dgm:pt>
    <dgm:pt modelId="{5CB1923B-CCA7-459F-A0DB-B6051F7C207F}" type="pres">
      <dgm:prSet presAssocID="{63DB9C1B-FAA8-416D-9DA2-5AFF2DB14EB5}" presName="node" presStyleLbl="node1" presStyleIdx="4" presStyleCnt="6" custScaleX="117410" custScaleY="98873" custRadScaleRad="96915" custRadScaleInc="31300">
        <dgm:presLayoutVars>
          <dgm:bulletEnabled val="1"/>
        </dgm:presLayoutVars>
      </dgm:prSet>
      <dgm:spPr/>
      <dgm:t>
        <a:bodyPr/>
        <a:lstStyle/>
        <a:p>
          <a:endParaRPr lang="es-CL"/>
        </a:p>
      </dgm:t>
    </dgm:pt>
    <dgm:pt modelId="{59C58B35-798F-4137-8BA6-8FB0D408BA40}" type="pres">
      <dgm:prSet presAssocID="{63DB9C1B-FAA8-416D-9DA2-5AFF2DB14EB5}" presName="spNode" presStyleCnt="0"/>
      <dgm:spPr/>
    </dgm:pt>
    <dgm:pt modelId="{3028D2D1-94B3-46DC-9852-38637112FD46}" type="pres">
      <dgm:prSet presAssocID="{69D3CF43-D876-4FE4-9442-7FF1980C53E4}" presName="sibTrans" presStyleLbl="sibTrans1D1" presStyleIdx="4" presStyleCnt="6"/>
      <dgm:spPr/>
      <dgm:t>
        <a:bodyPr/>
        <a:lstStyle/>
        <a:p>
          <a:endParaRPr lang="es-CL"/>
        </a:p>
      </dgm:t>
    </dgm:pt>
    <dgm:pt modelId="{F1B34492-806B-40EC-8760-8039D8418060}" type="pres">
      <dgm:prSet presAssocID="{5AEFBC72-E51D-4BDF-9659-E819594F9D61}" presName="node" presStyleLbl="node1" presStyleIdx="5" presStyleCnt="6" custScaleX="120200" custScaleY="97429">
        <dgm:presLayoutVars>
          <dgm:bulletEnabled val="1"/>
        </dgm:presLayoutVars>
      </dgm:prSet>
      <dgm:spPr/>
      <dgm:t>
        <a:bodyPr/>
        <a:lstStyle/>
        <a:p>
          <a:endParaRPr lang="es-CL"/>
        </a:p>
      </dgm:t>
    </dgm:pt>
    <dgm:pt modelId="{F3814921-8936-426E-8848-B3E2AD0DBBA3}" type="pres">
      <dgm:prSet presAssocID="{5AEFBC72-E51D-4BDF-9659-E819594F9D61}" presName="spNode" presStyleCnt="0"/>
      <dgm:spPr/>
    </dgm:pt>
    <dgm:pt modelId="{3E392A33-E91A-471B-B7ED-B5CA85BC22C1}" type="pres">
      <dgm:prSet presAssocID="{AB331FE2-B419-4D59-A880-C04DBB9E240F}" presName="sibTrans" presStyleLbl="sibTrans1D1" presStyleIdx="5" presStyleCnt="6"/>
      <dgm:spPr/>
      <dgm:t>
        <a:bodyPr/>
        <a:lstStyle/>
        <a:p>
          <a:endParaRPr lang="es-CL"/>
        </a:p>
      </dgm:t>
    </dgm:pt>
  </dgm:ptLst>
  <dgm:cxnLst>
    <dgm:cxn modelId="{9A21FE6A-D238-423D-9A98-715251D3BEF3}" srcId="{A9FB6541-C766-4617-B4E0-4DA7CC3B7F33}" destId="{5AEFBC72-E51D-4BDF-9659-E819594F9D61}" srcOrd="5" destOrd="0" parTransId="{4BB3F6B2-8488-49EB-917D-A94F26F7F289}" sibTransId="{AB331FE2-B419-4D59-A880-C04DBB9E240F}"/>
    <dgm:cxn modelId="{59C04DBE-244F-4F3B-9EAA-333F222AB51E}" type="presOf" srcId="{5AEFBC72-E51D-4BDF-9659-E819594F9D61}" destId="{F1B34492-806B-40EC-8760-8039D8418060}" srcOrd="0" destOrd="0" presId="urn:microsoft.com/office/officeart/2005/8/layout/cycle6"/>
    <dgm:cxn modelId="{F76887F6-5CEB-4F7B-98FE-F822CA5698C5}" srcId="{A9FB6541-C766-4617-B4E0-4DA7CC3B7F33}" destId="{4A3A56F9-F306-4628-973A-BA747A0404E5}" srcOrd="2" destOrd="0" parTransId="{84271E3B-16F4-4B20-AF03-5F45B98BF927}" sibTransId="{4BE9D8E2-B547-47E4-B708-D38E61A239CF}"/>
    <dgm:cxn modelId="{A62B4B6D-8059-48C2-AA17-4AAA32A362AB}" type="presOf" srcId="{4A3A56F9-F306-4628-973A-BA747A0404E5}" destId="{07527625-79EC-4FB6-A029-8DB327FEA2CC}" srcOrd="0" destOrd="0" presId="urn:microsoft.com/office/officeart/2005/8/layout/cycle6"/>
    <dgm:cxn modelId="{C4A8BAC9-5857-49BA-94FA-55CDEDA084D9}" type="presOf" srcId="{1C4EF07E-462B-4BF1-9C5D-B6154000F98E}" destId="{3B36B1FA-7FE4-4424-8C7F-ED10679A7BBB}" srcOrd="0" destOrd="0" presId="urn:microsoft.com/office/officeart/2005/8/layout/cycle6"/>
    <dgm:cxn modelId="{CCE0F198-E6C2-49E9-BF22-F93ADEEBFAD2}" type="presOf" srcId="{5BEE9970-405B-4D01-8B7B-D3B64FBC9016}" destId="{C61EC8FA-1C57-4508-BA3A-52D3BCAA4B3B}" srcOrd="0" destOrd="0" presId="urn:microsoft.com/office/officeart/2005/8/layout/cycle6"/>
    <dgm:cxn modelId="{7716DEF4-FD9F-497B-91A2-73B02D0E70C3}" srcId="{A9FB6541-C766-4617-B4E0-4DA7CC3B7F33}" destId="{63DB9C1B-FAA8-416D-9DA2-5AFF2DB14EB5}" srcOrd="4" destOrd="0" parTransId="{DD75D88A-055F-4671-A0FB-BC53411820D9}" sibTransId="{69D3CF43-D876-4FE4-9442-7FF1980C53E4}"/>
    <dgm:cxn modelId="{D65CAE73-7FB6-4D18-AF3A-5D918BD9E5C2}" type="presOf" srcId="{B1E3AEB1-30FC-4A94-A5AA-B26CA1602314}" destId="{8C6B2CE5-F8DB-4AEC-AD67-06B638E1C98A}" srcOrd="0" destOrd="0" presId="urn:microsoft.com/office/officeart/2005/8/layout/cycle6"/>
    <dgm:cxn modelId="{12E9D4A7-963C-4BFB-A1A0-41EA76C3CB6C}" srcId="{A9FB6541-C766-4617-B4E0-4DA7CC3B7F33}" destId="{B1E3AEB1-30FC-4A94-A5AA-B26CA1602314}" srcOrd="3" destOrd="0" parTransId="{993D00E6-89B6-4704-863D-50D11E17B01E}" sibTransId="{5BEE9970-405B-4D01-8B7B-D3B64FBC9016}"/>
    <dgm:cxn modelId="{EBD1C221-ACF2-4C6B-B5C9-B88F68ACE099}" type="presOf" srcId="{69D3CF43-D876-4FE4-9442-7FF1980C53E4}" destId="{3028D2D1-94B3-46DC-9852-38637112FD46}" srcOrd="0" destOrd="0" presId="urn:microsoft.com/office/officeart/2005/8/layout/cycle6"/>
    <dgm:cxn modelId="{572ECA25-C9D1-4661-A2D8-CB5F930462BC}" srcId="{A9FB6541-C766-4617-B4E0-4DA7CC3B7F33}" destId="{51E8E48A-61D3-4411-BA88-CA9F20052467}" srcOrd="1" destOrd="0" parTransId="{5FAFE945-A0A1-4528-9D73-F9EE340DC85C}" sibTransId="{424C4A81-EAEA-42B0-AE7D-A2DF7DB70FD4}"/>
    <dgm:cxn modelId="{35BD0458-42EC-414A-9329-638B5E4759F4}" type="presOf" srcId="{4BE9D8E2-B547-47E4-B708-D38E61A239CF}" destId="{B84CF607-6805-491F-8660-C2CB462815A5}" srcOrd="0" destOrd="0" presId="urn:microsoft.com/office/officeart/2005/8/layout/cycle6"/>
    <dgm:cxn modelId="{A6973D0D-94AA-4F45-9AE9-C374EDFE91E7}" type="presOf" srcId="{63DB9C1B-FAA8-416D-9DA2-5AFF2DB14EB5}" destId="{5CB1923B-CCA7-459F-A0DB-B6051F7C207F}" srcOrd="0" destOrd="0" presId="urn:microsoft.com/office/officeart/2005/8/layout/cycle6"/>
    <dgm:cxn modelId="{66FA6860-893E-41F0-8783-16454CB91B41}" srcId="{A9FB6541-C766-4617-B4E0-4DA7CC3B7F33}" destId="{1C4EF07E-462B-4BF1-9C5D-B6154000F98E}" srcOrd="0" destOrd="0" parTransId="{AB666733-D073-46FF-9355-94CAF666ADD4}" sibTransId="{3D32144B-AA89-4443-A290-0F38A7233407}"/>
    <dgm:cxn modelId="{60329E0E-AABA-441D-AA32-84D5DB245CD8}" type="presOf" srcId="{AB331FE2-B419-4D59-A880-C04DBB9E240F}" destId="{3E392A33-E91A-471B-B7ED-B5CA85BC22C1}" srcOrd="0" destOrd="0" presId="urn:microsoft.com/office/officeart/2005/8/layout/cycle6"/>
    <dgm:cxn modelId="{F6A7C764-119F-4DA8-9A2C-41BA18BE41B8}" type="presOf" srcId="{424C4A81-EAEA-42B0-AE7D-A2DF7DB70FD4}" destId="{194BE627-1AC5-4FF5-B0C1-681C70E8E239}" srcOrd="0" destOrd="0" presId="urn:microsoft.com/office/officeart/2005/8/layout/cycle6"/>
    <dgm:cxn modelId="{83DD755A-0979-454F-8E6A-D7209F25A662}" type="presOf" srcId="{51E8E48A-61D3-4411-BA88-CA9F20052467}" destId="{D85445B1-24CD-492C-8446-FEC9CAE7CBCD}" srcOrd="0" destOrd="0" presId="urn:microsoft.com/office/officeart/2005/8/layout/cycle6"/>
    <dgm:cxn modelId="{BCA8B547-8A10-49BC-A511-8D42699FDDE5}" type="presOf" srcId="{A9FB6541-C766-4617-B4E0-4DA7CC3B7F33}" destId="{A1A2E6D6-ECFD-4D58-A762-21F5C64492C5}" srcOrd="0" destOrd="0" presId="urn:microsoft.com/office/officeart/2005/8/layout/cycle6"/>
    <dgm:cxn modelId="{7863ACAF-6964-4BEC-BB5D-0E493CB125C0}" type="presOf" srcId="{3D32144B-AA89-4443-A290-0F38A7233407}" destId="{81FD4A4A-C6E3-41F2-9AF1-0C2C11CA3463}" srcOrd="0" destOrd="0" presId="urn:microsoft.com/office/officeart/2005/8/layout/cycle6"/>
    <dgm:cxn modelId="{C0F31E47-3C0A-41CF-B0BC-AA0012051D39}" type="presParOf" srcId="{A1A2E6D6-ECFD-4D58-A762-21F5C64492C5}" destId="{3B36B1FA-7FE4-4424-8C7F-ED10679A7BBB}" srcOrd="0" destOrd="0" presId="urn:microsoft.com/office/officeart/2005/8/layout/cycle6"/>
    <dgm:cxn modelId="{A1090B9D-2F9E-4BE3-8E4C-ECF0B9271185}" type="presParOf" srcId="{A1A2E6D6-ECFD-4D58-A762-21F5C64492C5}" destId="{378DAC31-6C99-4B46-9A2A-875073E63BE4}" srcOrd="1" destOrd="0" presId="urn:microsoft.com/office/officeart/2005/8/layout/cycle6"/>
    <dgm:cxn modelId="{299F5A76-8F66-401B-B35A-A1617EE43F73}" type="presParOf" srcId="{A1A2E6D6-ECFD-4D58-A762-21F5C64492C5}" destId="{81FD4A4A-C6E3-41F2-9AF1-0C2C11CA3463}" srcOrd="2" destOrd="0" presId="urn:microsoft.com/office/officeart/2005/8/layout/cycle6"/>
    <dgm:cxn modelId="{588649C4-5086-4406-A078-D269EA8B09F4}" type="presParOf" srcId="{A1A2E6D6-ECFD-4D58-A762-21F5C64492C5}" destId="{D85445B1-24CD-492C-8446-FEC9CAE7CBCD}" srcOrd="3" destOrd="0" presId="urn:microsoft.com/office/officeart/2005/8/layout/cycle6"/>
    <dgm:cxn modelId="{E2172B7B-F687-4F7E-B887-362212E21A61}" type="presParOf" srcId="{A1A2E6D6-ECFD-4D58-A762-21F5C64492C5}" destId="{70F031A3-D5C2-4975-A375-387B59D763CB}" srcOrd="4" destOrd="0" presId="urn:microsoft.com/office/officeart/2005/8/layout/cycle6"/>
    <dgm:cxn modelId="{730FA0B7-703A-4FED-9DFD-2B663FED0FF7}" type="presParOf" srcId="{A1A2E6D6-ECFD-4D58-A762-21F5C64492C5}" destId="{194BE627-1AC5-4FF5-B0C1-681C70E8E239}" srcOrd="5" destOrd="0" presId="urn:microsoft.com/office/officeart/2005/8/layout/cycle6"/>
    <dgm:cxn modelId="{BE6ED065-6DEA-4E2B-B729-D109E25C1515}" type="presParOf" srcId="{A1A2E6D6-ECFD-4D58-A762-21F5C64492C5}" destId="{07527625-79EC-4FB6-A029-8DB327FEA2CC}" srcOrd="6" destOrd="0" presId="urn:microsoft.com/office/officeart/2005/8/layout/cycle6"/>
    <dgm:cxn modelId="{14D35602-4F5E-4863-9312-EC5F852A5561}" type="presParOf" srcId="{A1A2E6D6-ECFD-4D58-A762-21F5C64492C5}" destId="{9063ADFC-B9EC-4590-BE9F-626B0CF9CA8A}" srcOrd="7" destOrd="0" presId="urn:microsoft.com/office/officeart/2005/8/layout/cycle6"/>
    <dgm:cxn modelId="{1B4B641C-8CE7-46FA-B91B-C68853473609}" type="presParOf" srcId="{A1A2E6D6-ECFD-4D58-A762-21F5C64492C5}" destId="{B84CF607-6805-491F-8660-C2CB462815A5}" srcOrd="8" destOrd="0" presId="urn:microsoft.com/office/officeart/2005/8/layout/cycle6"/>
    <dgm:cxn modelId="{F8543B5A-AC45-4FFD-A947-29D7DADBDDC9}" type="presParOf" srcId="{A1A2E6D6-ECFD-4D58-A762-21F5C64492C5}" destId="{8C6B2CE5-F8DB-4AEC-AD67-06B638E1C98A}" srcOrd="9" destOrd="0" presId="urn:microsoft.com/office/officeart/2005/8/layout/cycle6"/>
    <dgm:cxn modelId="{085918A6-754B-4B06-9632-69BFD6464C71}" type="presParOf" srcId="{A1A2E6D6-ECFD-4D58-A762-21F5C64492C5}" destId="{A9B38014-9ECF-4754-94F9-D0EC4C2B8C5A}" srcOrd="10" destOrd="0" presId="urn:microsoft.com/office/officeart/2005/8/layout/cycle6"/>
    <dgm:cxn modelId="{51624D00-A124-49A2-9D03-0E1DE81B249A}" type="presParOf" srcId="{A1A2E6D6-ECFD-4D58-A762-21F5C64492C5}" destId="{C61EC8FA-1C57-4508-BA3A-52D3BCAA4B3B}" srcOrd="11" destOrd="0" presId="urn:microsoft.com/office/officeart/2005/8/layout/cycle6"/>
    <dgm:cxn modelId="{141B0741-5558-4B3C-9F4B-6AFB7010BDC6}" type="presParOf" srcId="{A1A2E6D6-ECFD-4D58-A762-21F5C64492C5}" destId="{5CB1923B-CCA7-459F-A0DB-B6051F7C207F}" srcOrd="12" destOrd="0" presId="urn:microsoft.com/office/officeart/2005/8/layout/cycle6"/>
    <dgm:cxn modelId="{7C54A9DC-313A-42DF-BF8D-015318F1E0E8}" type="presParOf" srcId="{A1A2E6D6-ECFD-4D58-A762-21F5C64492C5}" destId="{59C58B35-798F-4137-8BA6-8FB0D408BA40}" srcOrd="13" destOrd="0" presId="urn:microsoft.com/office/officeart/2005/8/layout/cycle6"/>
    <dgm:cxn modelId="{2CFC06CD-1DB0-4CB1-8CE5-BF66E638FE14}" type="presParOf" srcId="{A1A2E6D6-ECFD-4D58-A762-21F5C64492C5}" destId="{3028D2D1-94B3-46DC-9852-38637112FD46}" srcOrd="14" destOrd="0" presId="urn:microsoft.com/office/officeart/2005/8/layout/cycle6"/>
    <dgm:cxn modelId="{48931385-5BAF-40C9-8936-C95CE6B5F9EC}" type="presParOf" srcId="{A1A2E6D6-ECFD-4D58-A762-21F5C64492C5}" destId="{F1B34492-806B-40EC-8760-8039D8418060}" srcOrd="15" destOrd="0" presId="urn:microsoft.com/office/officeart/2005/8/layout/cycle6"/>
    <dgm:cxn modelId="{BEEFD4E3-7392-44FC-8471-8D2620723585}" type="presParOf" srcId="{A1A2E6D6-ECFD-4D58-A762-21F5C64492C5}" destId="{F3814921-8936-426E-8848-B3E2AD0DBBA3}" srcOrd="16" destOrd="0" presId="urn:microsoft.com/office/officeart/2005/8/layout/cycle6"/>
    <dgm:cxn modelId="{21DB5E6D-862E-4880-B5D6-8A8C397277CF}" type="presParOf" srcId="{A1A2E6D6-ECFD-4D58-A762-21F5C64492C5}" destId="{3E392A33-E91A-471B-B7ED-B5CA85BC22C1}" srcOrd="17" destOrd="0" presId="urn:microsoft.com/office/officeart/2005/8/layout/cycle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225230-8572-494E-BC50-DEA20B285707}" type="doc">
      <dgm:prSet loTypeId="urn:microsoft.com/office/officeart/2005/8/layout/process1" loCatId="process" qsTypeId="urn:microsoft.com/office/officeart/2005/8/quickstyle/3d3" qsCatId="3D" csTypeId="urn:microsoft.com/office/officeart/2005/8/colors/accent1_2" csCatId="accent1" phldr="1"/>
      <dgm:spPr/>
      <dgm:t>
        <a:bodyPr/>
        <a:lstStyle/>
        <a:p>
          <a:endParaRPr lang="es-CL"/>
        </a:p>
      </dgm:t>
    </dgm:pt>
    <dgm:pt modelId="{B56A08A4-73FB-46CE-99E1-D5359B253038}">
      <dgm:prSet phldrT="[Texto]"/>
      <dgm:spPr>
        <a:solidFill>
          <a:srgbClr val="13C045"/>
        </a:solidFill>
      </dgm:spPr>
      <dgm:t>
        <a:bodyPr/>
        <a:lstStyle/>
        <a:p>
          <a:r>
            <a:rPr lang="es-CL" dirty="0"/>
            <a:t>Caracterización puestos de trabajo</a:t>
          </a:r>
        </a:p>
      </dgm:t>
    </dgm:pt>
    <dgm:pt modelId="{3B9463DA-7C5D-4352-AF69-2DDD57CA94EA}" type="parTrans" cxnId="{BD11BBA7-D7A7-408A-8792-604F53E99C78}">
      <dgm:prSet/>
      <dgm:spPr/>
      <dgm:t>
        <a:bodyPr/>
        <a:lstStyle/>
        <a:p>
          <a:endParaRPr lang="es-CL"/>
        </a:p>
      </dgm:t>
    </dgm:pt>
    <dgm:pt modelId="{3832A676-F271-466A-811E-969E9A4C9204}" type="sibTrans" cxnId="{BD11BBA7-D7A7-408A-8792-604F53E99C78}">
      <dgm:prSet/>
      <dgm:spPr>
        <a:solidFill>
          <a:srgbClr val="13C045"/>
        </a:solidFill>
      </dgm:spPr>
      <dgm:t>
        <a:bodyPr/>
        <a:lstStyle/>
        <a:p>
          <a:endParaRPr lang="es-CL"/>
        </a:p>
      </dgm:t>
    </dgm:pt>
    <dgm:pt modelId="{A702592D-2A22-47CA-BDC7-A97034AA4A90}">
      <dgm:prSet phldrT="[Texto]"/>
      <dgm:spPr>
        <a:solidFill>
          <a:srgbClr val="13C045"/>
        </a:solidFill>
      </dgm:spPr>
      <dgm:t>
        <a:bodyPr/>
        <a:lstStyle/>
        <a:p>
          <a:r>
            <a:rPr lang="es-CL" dirty="0"/>
            <a:t>Identificación inicial</a:t>
          </a:r>
        </a:p>
      </dgm:t>
    </dgm:pt>
    <dgm:pt modelId="{3729D276-71F7-42DA-8326-0CE73FD72BBA}" type="parTrans" cxnId="{1D80F483-A079-43B8-BBA5-CF8D88CB7E14}">
      <dgm:prSet/>
      <dgm:spPr/>
      <dgm:t>
        <a:bodyPr/>
        <a:lstStyle/>
        <a:p>
          <a:endParaRPr lang="es-CL"/>
        </a:p>
      </dgm:t>
    </dgm:pt>
    <dgm:pt modelId="{5C768C5A-ACF4-4BDE-991B-79F00BA8F350}" type="sibTrans" cxnId="{1D80F483-A079-43B8-BBA5-CF8D88CB7E14}">
      <dgm:prSet/>
      <dgm:spPr>
        <a:solidFill>
          <a:srgbClr val="13C045"/>
        </a:solidFill>
      </dgm:spPr>
      <dgm:t>
        <a:bodyPr/>
        <a:lstStyle/>
        <a:p>
          <a:endParaRPr lang="es-CL"/>
        </a:p>
      </dgm:t>
    </dgm:pt>
    <dgm:pt modelId="{C0987EB5-2310-4962-8339-BC4896A3C75F}">
      <dgm:prSet phldrT="[Texto]"/>
      <dgm:spPr>
        <a:solidFill>
          <a:srgbClr val="13C045"/>
        </a:solidFill>
      </dgm:spPr>
      <dgm:t>
        <a:bodyPr/>
        <a:lstStyle/>
        <a:p>
          <a:r>
            <a:rPr lang="es-CL" dirty="0"/>
            <a:t>Identificación avanzada</a:t>
          </a:r>
        </a:p>
      </dgm:t>
    </dgm:pt>
    <dgm:pt modelId="{37BA7F5D-C47F-4D52-A841-DDAD0D84FDC4}" type="parTrans" cxnId="{F07A934C-652A-4719-A93D-8A20069B6411}">
      <dgm:prSet/>
      <dgm:spPr/>
      <dgm:t>
        <a:bodyPr/>
        <a:lstStyle/>
        <a:p>
          <a:endParaRPr lang="es-CL"/>
        </a:p>
      </dgm:t>
    </dgm:pt>
    <dgm:pt modelId="{5571044C-0060-4532-BCA6-C9D439E60512}" type="sibTrans" cxnId="{F07A934C-652A-4719-A93D-8A20069B6411}">
      <dgm:prSet/>
      <dgm:spPr>
        <a:solidFill>
          <a:srgbClr val="13C045"/>
        </a:solidFill>
      </dgm:spPr>
      <dgm:t>
        <a:bodyPr/>
        <a:lstStyle/>
        <a:p>
          <a:endParaRPr lang="es-CL"/>
        </a:p>
      </dgm:t>
    </dgm:pt>
    <dgm:pt modelId="{48CD4C47-09A2-4181-9AC9-CE93EF6BD13B}">
      <dgm:prSet phldrT="[Texto]"/>
      <dgm:spPr>
        <a:solidFill>
          <a:srgbClr val="13C045"/>
        </a:solidFill>
      </dgm:spPr>
      <dgm:t>
        <a:bodyPr/>
        <a:lstStyle/>
        <a:p>
          <a:r>
            <a:rPr lang="es-CL" dirty="0"/>
            <a:t>Evaluación inicial </a:t>
          </a:r>
        </a:p>
      </dgm:t>
    </dgm:pt>
    <dgm:pt modelId="{35BC4C03-30F1-41E9-B44E-DA9CAB887A66}" type="parTrans" cxnId="{A4603EFF-B4F4-49C0-B92D-F8FF4DA3FE65}">
      <dgm:prSet/>
      <dgm:spPr/>
      <dgm:t>
        <a:bodyPr/>
        <a:lstStyle/>
        <a:p>
          <a:endParaRPr lang="es-CL"/>
        </a:p>
      </dgm:t>
    </dgm:pt>
    <dgm:pt modelId="{5A8B411A-16E1-4185-904C-9970A0224079}" type="sibTrans" cxnId="{A4603EFF-B4F4-49C0-B92D-F8FF4DA3FE65}">
      <dgm:prSet/>
      <dgm:spPr>
        <a:solidFill>
          <a:srgbClr val="13C045"/>
        </a:solidFill>
      </dgm:spPr>
      <dgm:t>
        <a:bodyPr/>
        <a:lstStyle/>
        <a:p>
          <a:endParaRPr lang="es-CL"/>
        </a:p>
      </dgm:t>
    </dgm:pt>
    <dgm:pt modelId="{7B03D7DF-CFBE-4726-BFF1-88D787DCF871}">
      <dgm:prSet phldrT="[Texto]"/>
      <dgm:spPr>
        <a:solidFill>
          <a:srgbClr val="13C045"/>
        </a:solidFill>
      </dgm:spPr>
      <dgm:t>
        <a:bodyPr/>
        <a:lstStyle/>
        <a:p>
          <a:r>
            <a:rPr lang="es-CL" dirty="0"/>
            <a:t>Evaluación avanzada</a:t>
          </a:r>
        </a:p>
      </dgm:t>
    </dgm:pt>
    <dgm:pt modelId="{7EC385B2-DEF1-4096-A504-01B01B75D994}" type="parTrans" cxnId="{20378C18-72FA-412B-9487-C3E16561A774}">
      <dgm:prSet/>
      <dgm:spPr/>
      <dgm:t>
        <a:bodyPr/>
        <a:lstStyle/>
        <a:p>
          <a:endParaRPr lang="es-CL"/>
        </a:p>
      </dgm:t>
    </dgm:pt>
    <dgm:pt modelId="{85717088-6EA9-4247-B23C-20F9F1A10B91}" type="sibTrans" cxnId="{20378C18-72FA-412B-9487-C3E16561A774}">
      <dgm:prSet/>
      <dgm:spPr/>
      <dgm:t>
        <a:bodyPr/>
        <a:lstStyle/>
        <a:p>
          <a:endParaRPr lang="es-CL"/>
        </a:p>
      </dgm:t>
    </dgm:pt>
    <dgm:pt modelId="{407C5645-C0F6-4771-8251-4C5BC76DAD50}" type="pres">
      <dgm:prSet presAssocID="{E6225230-8572-494E-BC50-DEA20B285707}" presName="Name0" presStyleCnt="0">
        <dgm:presLayoutVars>
          <dgm:dir/>
          <dgm:resizeHandles val="exact"/>
        </dgm:presLayoutVars>
      </dgm:prSet>
      <dgm:spPr/>
      <dgm:t>
        <a:bodyPr/>
        <a:lstStyle/>
        <a:p>
          <a:endParaRPr lang="es-CL"/>
        </a:p>
      </dgm:t>
    </dgm:pt>
    <dgm:pt modelId="{7F64A10A-F041-40AC-8A8F-B7E059D83751}" type="pres">
      <dgm:prSet presAssocID="{B56A08A4-73FB-46CE-99E1-D5359B253038}" presName="node" presStyleLbl="node1" presStyleIdx="0" presStyleCnt="5">
        <dgm:presLayoutVars>
          <dgm:bulletEnabled val="1"/>
        </dgm:presLayoutVars>
      </dgm:prSet>
      <dgm:spPr/>
      <dgm:t>
        <a:bodyPr/>
        <a:lstStyle/>
        <a:p>
          <a:endParaRPr lang="es-CL"/>
        </a:p>
      </dgm:t>
    </dgm:pt>
    <dgm:pt modelId="{D88662F4-8C94-46F2-A088-D85B631963BD}" type="pres">
      <dgm:prSet presAssocID="{3832A676-F271-466A-811E-969E9A4C9204}" presName="sibTrans" presStyleLbl="sibTrans2D1" presStyleIdx="0" presStyleCnt="4"/>
      <dgm:spPr/>
      <dgm:t>
        <a:bodyPr/>
        <a:lstStyle/>
        <a:p>
          <a:endParaRPr lang="es-CL"/>
        </a:p>
      </dgm:t>
    </dgm:pt>
    <dgm:pt modelId="{BDB45ED1-4870-457B-8FF8-93E344E0BF9E}" type="pres">
      <dgm:prSet presAssocID="{3832A676-F271-466A-811E-969E9A4C9204}" presName="connectorText" presStyleLbl="sibTrans2D1" presStyleIdx="0" presStyleCnt="4"/>
      <dgm:spPr/>
      <dgm:t>
        <a:bodyPr/>
        <a:lstStyle/>
        <a:p>
          <a:endParaRPr lang="es-CL"/>
        </a:p>
      </dgm:t>
    </dgm:pt>
    <dgm:pt modelId="{CE5FFE5A-069F-4796-BB60-0846CCD4D8AB}" type="pres">
      <dgm:prSet presAssocID="{A702592D-2A22-47CA-BDC7-A97034AA4A90}" presName="node" presStyleLbl="node1" presStyleIdx="1" presStyleCnt="5">
        <dgm:presLayoutVars>
          <dgm:bulletEnabled val="1"/>
        </dgm:presLayoutVars>
      </dgm:prSet>
      <dgm:spPr/>
      <dgm:t>
        <a:bodyPr/>
        <a:lstStyle/>
        <a:p>
          <a:endParaRPr lang="es-CL"/>
        </a:p>
      </dgm:t>
    </dgm:pt>
    <dgm:pt modelId="{0FFC9C46-E488-4BCF-973D-8FE084777599}" type="pres">
      <dgm:prSet presAssocID="{5C768C5A-ACF4-4BDE-991B-79F00BA8F350}" presName="sibTrans" presStyleLbl="sibTrans2D1" presStyleIdx="1" presStyleCnt="4"/>
      <dgm:spPr/>
      <dgm:t>
        <a:bodyPr/>
        <a:lstStyle/>
        <a:p>
          <a:endParaRPr lang="es-CL"/>
        </a:p>
      </dgm:t>
    </dgm:pt>
    <dgm:pt modelId="{C4CFAE62-93B7-48B8-B544-8A09C5990172}" type="pres">
      <dgm:prSet presAssocID="{5C768C5A-ACF4-4BDE-991B-79F00BA8F350}" presName="connectorText" presStyleLbl="sibTrans2D1" presStyleIdx="1" presStyleCnt="4"/>
      <dgm:spPr/>
      <dgm:t>
        <a:bodyPr/>
        <a:lstStyle/>
        <a:p>
          <a:endParaRPr lang="es-CL"/>
        </a:p>
      </dgm:t>
    </dgm:pt>
    <dgm:pt modelId="{B99636B1-4BC2-4B2C-9EF0-07B6EBDBCEDA}" type="pres">
      <dgm:prSet presAssocID="{C0987EB5-2310-4962-8339-BC4896A3C75F}" presName="node" presStyleLbl="node1" presStyleIdx="2" presStyleCnt="5">
        <dgm:presLayoutVars>
          <dgm:bulletEnabled val="1"/>
        </dgm:presLayoutVars>
      </dgm:prSet>
      <dgm:spPr/>
      <dgm:t>
        <a:bodyPr/>
        <a:lstStyle/>
        <a:p>
          <a:endParaRPr lang="es-CL"/>
        </a:p>
      </dgm:t>
    </dgm:pt>
    <dgm:pt modelId="{A11C8230-BAC3-4EFA-B537-78E632F6E295}" type="pres">
      <dgm:prSet presAssocID="{5571044C-0060-4532-BCA6-C9D439E60512}" presName="sibTrans" presStyleLbl="sibTrans2D1" presStyleIdx="2" presStyleCnt="4"/>
      <dgm:spPr/>
      <dgm:t>
        <a:bodyPr/>
        <a:lstStyle/>
        <a:p>
          <a:endParaRPr lang="es-CL"/>
        </a:p>
      </dgm:t>
    </dgm:pt>
    <dgm:pt modelId="{3A4C46C6-2AEE-4BF5-84E4-75E447F409EF}" type="pres">
      <dgm:prSet presAssocID="{5571044C-0060-4532-BCA6-C9D439E60512}" presName="connectorText" presStyleLbl="sibTrans2D1" presStyleIdx="2" presStyleCnt="4"/>
      <dgm:spPr/>
      <dgm:t>
        <a:bodyPr/>
        <a:lstStyle/>
        <a:p>
          <a:endParaRPr lang="es-CL"/>
        </a:p>
      </dgm:t>
    </dgm:pt>
    <dgm:pt modelId="{115ECCE5-F08D-4052-8C8F-2125960B3499}" type="pres">
      <dgm:prSet presAssocID="{48CD4C47-09A2-4181-9AC9-CE93EF6BD13B}" presName="node" presStyleLbl="node1" presStyleIdx="3" presStyleCnt="5">
        <dgm:presLayoutVars>
          <dgm:bulletEnabled val="1"/>
        </dgm:presLayoutVars>
      </dgm:prSet>
      <dgm:spPr/>
      <dgm:t>
        <a:bodyPr/>
        <a:lstStyle/>
        <a:p>
          <a:endParaRPr lang="es-CL"/>
        </a:p>
      </dgm:t>
    </dgm:pt>
    <dgm:pt modelId="{17109CBB-5F42-461E-8CA9-C01D486E4C00}" type="pres">
      <dgm:prSet presAssocID="{5A8B411A-16E1-4185-904C-9970A0224079}" presName="sibTrans" presStyleLbl="sibTrans2D1" presStyleIdx="3" presStyleCnt="4"/>
      <dgm:spPr/>
      <dgm:t>
        <a:bodyPr/>
        <a:lstStyle/>
        <a:p>
          <a:endParaRPr lang="es-CL"/>
        </a:p>
      </dgm:t>
    </dgm:pt>
    <dgm:pt modelId="{B2E0C574-A70D-4CA2-B015-8E2017CF9FF8}" type="pres">
      <dgm:prSet presAssocID="{5A8B411A-16E1-4185-904C-9970A0224079}" presName="connectorText" presStyleLbl="sibTrans2D1" presStyleIdx="3" presStyleCnt="4"/>
      <dgm:spPr/>
      <dgm:t>
        <a:bodyPr/>
        <a:lstStyle/>
        <a:p>
          <a:endParaRPr lang="es-CL"/>
        </a:p>
      </dgm:t>
    </dgm:pt>
    <dgm:pt modelId="{9FD07EE7-786F-4494-B7B4-261D87657169}" type="pres">
      <dgm:prSet presAssocID="{7B03D7DF-CFBE-4726-BFF1-88D787DCF871}" presName="node" presStyleLbl="node1" presStyleIdx="4" presStyleCnt="5">
        <dgm:presLayoutVars>
          <dgm:bulletEnabled val="1"/>
        </dgm:presLayoutVars>
      </dgm:prSet>
      <dgm:spPr/>
      <dgm:t>
        <a:bodyPr/>
        <a:lstStyle/>
        <a:p>
          <a:endParaRPr lang="es-CL"/>
        </a:p>
      </dgm:t>
    </dgm:pt>
  </dgm:ptLst>
  <dgm:cxnLst>
    <dgm:cxn modelId="{7D85BEB4-D651-47DD-9975-F85713D2B84A}" type="presOf" srcId="{A702592D-2A22-47CA-BDC7-A97034AA4A90}" destId="{CE5FFE5A-069F-4796-BB60-0846CCD4D8AB}" srcOrd="0" destOrd="0" presId="urn:microsoft.com/office/officeart/2005/8/layout/process1"/>
    <dgm:cxn modelId="{035077AD-4738-4178-A419-B155FC6DD448}" type="presOf" srcId="{C0987EB5-2310-4962-8339-BC4896A3C75F}" destId="{B99636B1-4BC2-4B2C-9EF0-07B6EBDBCEDA}" srcOrd="0" destOrd="0" presId="urn:microsoft.com/office/officeart/2005/8/layout/process1"/>
    <dgm:cxn modelId="{92B7CF2C-4D0D-4C80-A401-8A30844BB5B9}" type="presOf" srcId="{5571044C-0060-4532-BCA6-C9D439E60512}" destId="{3A4C46C6-2AEE-4BF5-84E4-75E447F409EF}" srcOrd="1" destOrd="0" presId="urn:microsoft.com/office/officeart/2005/8/layout/process1"/>
    <dgm:cxn modelId="{A4603EFF-B4F4-49C0-B92D-F8FF4DA3FE65}" srcId="{E6225230-8572-494E-BC50-DEA20B285707}" destId="{48CD4C47-09A2-4181-9AC9-CE93EF6BD13B}" srcOrd="3" destOrd="0" parTransId="{35BC4C03-30F1-41E9-B44E-DA9CAB887A66}" sibTransId="{5A8B411A-16E1-4185-904C-9970A0224079}"/>
    <dgm:cxn modelId="{C3080CE0-DCE3-4664-B3BF-77CC5322B8BF}" type="presOf" srcId="{E6225230-8572-494E-BC50-DEA20B285707}" destId="{407C5645-C0F6-4771-8251-4C5BC76DAD50}" srcOrd="0" destOrd="0" presId="urn:microsoft.com/office/officeart/2005/8/layout/process1"/>
    <dgm:cxn modelId="{59F1A783-8B7C-4278-906C-7003094783C7}" type="presOf" srcId="{3832A676-F271-466A-811E-969E9A4C9204}" destId="{D88662F4-8C94-46F2-A088-D85B631963BD}" srcOrd="0" destOrd="0" presId="urn:microsoft.com/office/officeart/2005/8/layout/process1"/>
    <dgm:cxn modelId="{3F162A14-E3F1-4F23-900B-77C06BE01AC9}" type="presOf" srcId="{5571044C-0060-4532-BCA6-C9D439E60512}" destId="{A11C8230-BAC3-4EFA-B537-78E632F6E295}" srcOrd="0" destOrd="0" presId="urn:microsoft.com/office/officeart/2005/8/layout/process1"/>
    <dgm:cxn modelId="{1F251179-B4D4-4491-9AB9-3D050CE03BC8}" type="presOf" srcId="{3832A676-F271-466A-811E-969E9A4C9204}" destId="{BDB45ED1-4870-457B-8FF8-93E344E0BF9E}" srcOrd="1" destOrd="0" presId="urn:microsoft.com/office/officeart/2005/8/layout/process1"/>
    <dgm:cxn modelId="{20378C18-72FA-412B-9487-C3E16561A774}" srcId="{E6225230-8572-494E-BC50-DEA20B285707}" destId="{7B03D7DF-CFBE-4726-BFF1-88D787DCF871}" srcOrd="4" destOrd="0" parTransId="{7EC385B2-DEF1-4096-A504-01B01B75D994}" sibTransId="{85717088-6EA9-4247-B23C-20F9F1A10B91}"/>
    <dgm:cxn modelId="{551EDCE5-6C28-468F-88C0-2969A5D2F77B}" type="presOf" srcId="{5A8B411A-16E1-4185-904C-9970A0224079}" destId="{17109CBB-5F42-461E-8CA9-C01D486E4C00}" srcOrd="0" destOrd="0" presId="urn:microsoft.com/office/officeart/2005/8/layout/process1"/>
    <dgm:cxn modelId="{B32A9EB6-8014-4C53-8A4B-ADAE61FB7766}" type="presOf" srcId="{5A8B411A-16E1-4185-904C-9970A0224079}" destId="{B2E0C574-A70D-4CA2-B015-8E2017CF9FF8}" srcOrd="1" destOrd="0" presId="urn:microsoft.com/office/officeart/2005/8/layout/process1"/>
    <dgm:cxn modelId="{BD11BBA7-D7A7-408A-8792-604F53E99C78}" srcId="{E6225230-8572-494E-BC50-DEA20B285707}" destId="{B56A08A4-73FB-46CE-99E1-D5359B253038}" srcOrd="0" destOrd="0" parTransId="{3B9463DA-7C5D-4352-AF69-2DDD57CA94EA}" sibTransId="{3832A676-F271-466A-811E-969E9A4C9204}"/>
    <dgm:cxn modelId="{1D80F483-A079-43B8-BBA5-CF8D88CB7E14}" srcId="{E6225230-8572-494E-BC50-DEA20B285707}" destId="{A702592D-2A22-47CA-BDC7-A97034AA4A90}" srcOrd="1" destOrd="0" parTransId="{3729D276-71F7-42DA-8326-0CE73FD72BBA}" sibTransId="{5C768C5A-ACF4-4BDE-991B-79F00BA8F350}"/>
    <dgm:cxn modelId="{F07A934C-652A-4719-A93D-8A20069B6411}" srcId="{E6225230-8572-494E-BC50-DEA20B285707}" destId="{C0987EB5-2310-4962-8339-BC4896A3C75F}" srcOrd="2" destOrd="0" parTransId="{37BA7F5D-C47F-4D52-A841-DDAD0D84FDC4}" sibTransId="{5571044C-0060-4532-BCA6-C9D439E60512}"/>
    <dgm:cxn modelId="{F441655E-7567-48C1-B47D-92B0F7368932}" type="presOf" srcId="{7B03D7DF-CFBE-4726-BFF1-88D787DCF871}" destId="{9FD07EE7-786F-4494-B7B4-261D87657169}" srcOrd="0" destOrd="0" presId="urn:microsoft.com/office/officeart/2005/8/layout/process1"/>
    <dgm:cxn modelId="{04C4CD70-DAEE-4541-B919-0A5014E756D2}" type="presOf" srcId="{B56A08A4-73FB-46CE-99E1-D5359B253038}" destId="{7F64A10A-F041-40AC-8A8F-B7E059D83751}" srcOrd="0" destOrd="0" presId="urn:microsoft.com/office/officeart/2005/8/layout/process1"/>
    <dgm:cxn modelId="{DB0C6E18-7E9D-4991-B963-0AF8FD155DE2}" type="presOf" srcId="{48CD4C47-09A2-4181-9AC9-CE93EF6BD13B}" destId="{115ECCE5-F08D-4052-8C8F-2125960B3499}" srcOrd="0" destOrd="0" presId="urn:microsoft.com/office/officeart/2005/8/layout/process1"/>
    <dgm:cxn modelId="{4DB17C84-76B6-4998-A42D-8CE38B882E4A}" type="presOf" srcId="{5C768C5A-ACF4-4BDE-991B-79F00BA8F350}" destId="{C4CFAE62-93B7-48B8-B544-8A09C5990172}" srcOrd="1" destOrd="0" presId="urn:microsoft.com/office/officeart/2005/8/layout/process1"/>
    <dgm:cxn modelId="{E2D9AEB4-7F35-4C13-81B4-E29C2E05BF64}" type="presOf" srcId="{5C768C5A-ACF4-4BDE-991B-79F00BA8F350}" destId="{0FFC9C46-E488-4BCF-973D-8FE084777599}" srcOrd="0" destOrd="0" presId="urn:microsoft.com/office/officeart/2005/8/layout/process1"/>
    <dgm:cxn modelId="{9C3D02D4-60ED-41E7-99EE-BFFAD99632A4}" type="presParOf" srcId="{407C5645-C0F6-4771-8251-4C5BC76DAD50}" destId="{7F64A10A-F041-40AC-8A8F-B7E059D83751}" srcOrd="0" destOrd="0" presId="urn:microsoft.com/office/officeart/2005/8/layout/process1"/>
    <dgm:cxn modelId="{64B47656-3B60-4FE6-86FD-92D9BC557D30}" type="presParOf" srcId="{407C5645-C0F6-4771-8251-4C5BC76DAD50}" destId="{D88662F4-8C94-46F2-A088-D85B631963BD}" srcOrd="1" destOrd="0" presId="urn:microsoft.com/office/officeart/2005/8/layout/process1"/>
    <dgm:cxn modelId="{AADDA9EC-FA03-440E-B44E-14D762411ADF}" type="presParOf" srcId="{D88662F4-8C94-46F2-A088-D85B631963BD}" destId="{BDB45ED1-4870-457B-8FF8-93E344E0BF9E}" srcOrd="0" destOrd="0" presId="urn:microsoft.com/office/officeart/2005/8/layout/process1"/>
    <dgm:cxn modelId="{2ABA317E-D6F1-4A98-AA1D-EE5E5D60F8F8}" type="presParOf" srcId="{407C5645-C0F6-4771-8251-4C5BC76DAD50}" destId="{CE5FFE5A-069F-4796-BB60-0846CCD4D8AB}" srcOrd="2" destOrd="0" presId="urn:microsoft.com/office/officeart/2005/8/layout/process1"/>
    <dgm:cxn modelId="{72856A58-2C96-45C7-8D5B-D1F929099DBF}" type="presParOf" srcId="{407C5645-C0F6-4771-8251-4C5BC76DAD50}" destId="{0FFC9C46-E488-4BCF-973D-8FE084777599}" srcOrd="3" destOrd="0" presId="urn:microsoft.com/office/officeart/2005/8/layout/process1"/>
    <dgm:cxn modelId="{6841158D-D076-4A94-9AE3-5F3DEBDE352D}" type="presParOf" srcId="{0FFC9C46-E488-4BCF-973D-8FE084777599}" destId="{C4CFAE62-93B7-48B8-B544-8A09C5990172}" srcOrd="0" destOrd="0" presId="urn:microsoft.com/office/officeart/2005/8/layout/process1"/>
    <dgm:cxn modelId="{368CCDD4-1A69-4840-B7CE-79CCC7863BA1}" type="presParOf" srcId="{407C5645-C0F6-4771-8251-4C5BC76DAD50}" destId="{B99636B1-4BC2-4B2C-9EF0-07B6EBDBCEDA}" srcOrd="4" destOrd="0" presId="urn:microsoft.com/office/officeart/2005/8/layout/process1"/>
    <dgm:cxn modelId="{398D3669-9D3D-4C58-8D4D-5DAE141C4A4E}" type="presParOf" srcId="{407C5645-C0F6-4771-8251-4C5BC76DAD50}" destId="{A11C8230-BAC3-4EFA-B537-78E632F6E295}" srcOrd="5" destOrd="0" presId="urn:microsoft.com/office/officeart/2005/8/layout/process1"/>
    <dgm:cxn modelId="{24ACA9B1-EEA5-4F99-83DE-959F6BBAC755}" type="presParOf" srcId="{A11C8230-BAC3-4EFA-B537-78E632F6E295}" destId="{3A4C46C6-2AEE-4BF5-84E4-75E447F409EF}" srcOrd="0" destOrd="0" presId="urn:microsoft.com/office/officeart/2005/8/layout/process1"/>
    <dgm:cxn modelId="{4E8C1F3D-0F0B-4F44-9BC3-2091C86804AD}" type="presParOf" srcId="{407C5645-C0F6-4771-8251-4C5BC76DAD50}" destId="{115ECCE5-F08D-4052-8C8F-2125960B3499}" srcOrd="6" destOrd="0" presId="urn:microsoft.com/office/officeart/2005/8/layout/process1"/>
    <dgm:cxn modelId="{8F0A13EA-EDC5-4969-A6C9-613D16FC2580}" type="presParOf" srcId="{407C5645-C0F6-4771-8251-4C5BC76DAD50}" destId="{17109CBB-5F42-461E-8CA9-C01D486E4C00}" srcOrd="7" destOrd="0" presId="urn:microsoft.com/office/officeart/2005/8/layout/process1"/>
    <dgm:cxn modelId="{E2EA7CE7-9526-42BB-A036-EFF7B62C0246}" type="presParOf" srcId="{17109CBB-5F42-461E-8CA9-C01D486E4C00}" destId="{B2E0C574-A70D-4CA2-B015-8E2017CF9FF8}" srcOrd="0" destOrd="0" presId="urn:microsoft.com/office/officeart/2005/8/layout/process1"/>
    <dgm:cxn modelId="{2F99E8D0-E963-49A4-9749-8013A9143511}" type="presParOf" srcId="{407C5645-C0F6-4771-8251-4C5BC76DAD50}" destId="{9FD07EE7-786F-4494-B7B4-261D87657169}"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AEB6C4-B9F4-41B6-9682-604093E5EE74}" type="doc">
      <dgm:prSet loTypeId="urn:microsoft.com/office/officeart/2005/8/layout/pyramid3" loCatId="pyramid" qsTypeId="urn:microsoft.com/office/officeart/2005/8/quickstyle/3d4" qsCatId="3D" csTypeId="urn:microsoft.com/office/officeart/2005/8/colors/accent2_3" csCatId="accent2" phldr="1"/>
      <dgm:spPr/>
    </dgm:pt>
    <dgm:pt modelId="{F49B9727-496F-4A40-B89E-3CB03CE91CAA}">
      <dgm:prSet phldrT="[Texto]" custT="1"/>
      <dgm:spPr/>
      <dgm:t>
        <a:bodyPr/>
        <a:lstStyle/>
        <a:p>
          <a:r>
            <a:rPr lang="es-CL" sz="1600" b="1" smtClean="0"/>
            <a:t>Eliminación</a:t>
          </a:r>
          <a:endParaRPr lang="es-CL" sz="1600" b="1" dirty="0"/>
        </a:p>
      </dgm:t>
    </dgm:pt>
    <dgm:pt modelId="{A7D8BB91-F9C6-4843-8F4D-3F05A2D03B16}" type="parTrans" cxnId="{410847E8-8147-41D5-8049-9B9C02EC1ABB}">
      <dgm:prSet/>
      <dgm:spPr/>
      <dgm:t>
        <a:bodyPr/>
        <a:lstStyle/>
        <a:p>
          <a:endParaRPr lang="es-CL" sz="1600" b="1">
            <a:solidFill>
              <a:schemeClr val="bg1"/>
            </a:solidFill>
          </a:endParaRPr>
        </a:p>
      </dgm:t>
    </dgm:pt>
    <dgm:pt modelId="{63A7CABE-E1E6-4C15-9521-C8F75584CE8C}" type="sibTrans" cxnId="{410847E8-8147-41D5-8049-9B9C02EC1ABB}">
      <dgm:prSet/>
      <dgm:spPr/>
      <dgm:t>
        <a:bodyPr/>
        <a:lstStyle/>
        <a:p>
          <a:endParaRPr lang="es-CL" sz="1600" b="1">
            <a:solidFill>
              <a:schemeClr val="bg1"/>
            </a:solidFill>
          </a:endParaRPr>
        </a:p>
      </dgm:t>
    </dgm:pt>
    <dgm:pt modelId="{28CD4213-D2A7-44DC-AFBE-30C00CE36094}">
      <dgm:prSet phldrT="[Texto]" custT="1"/>
      <dgm:spPr/>
      <dgm:t>
        <a:bodyPr/>
        <a:lstStyle/>
        <a:p>
          <a:r>
            <a:rPr lang="es-CL" sz="1600" b="1" smtClean="0"/>
            <a:t>Sustitución</a:t>
          </a:r>
          <a:endParaRPr lang="es-CL" sz="1600" b="1" dirty="0"/>
        </a:p>
      </dgm:t>
    </dgm:pt>
    <dgm:pt modelId="{B2BC30C7-AFB4-4E87-9434-9E8A0C7A06BA}" type="parTrans" cxnId="{7A79E8D7-A490-46D4-B13D-6BC6DB578541}">
      <dgm:prSet/>
      <dgm:spPr/>
      <dgm:t>
        <a:bodyPr/>
        <a:lstStyle/>
        <a:p>
          <a:endParaRPr lang="es-CL" sz="1600" b="1">
            <a:solidFill>
              <a:schemeClr val="bg1"/>
            </a:solidFill>
          </a:endParaRPr>
        </a:p>
      </dgm:t>
    </dgm:pt>
    <dgm:pt modelId="{06AEE679-922E-4BE4-8639-BCD2F14592B6}" type="sibTrans" cxnId="{7A79E8D7-A490-46D4-B13D-6BC6DB578541}">
      <dgm:prSet/>
      <dgm:spPr/>
      <dgm:t>
        <a:bodyPr/>
        <a:lstStyle/>
        <a:p>
          <a:endParaRPr lang="es-CL" sz="1600" b="1">
            <a:solidFill>
              <a:schemeClr val="bg1"/>
            </a:solidFill>
          </a:endParaRPr>
        </a:p>
      </dgm:t>
    </dgm:pt>
    <dgm:pt modelId="{D43F6617-13CF-43D4-B3A6-60F0C549181F}">
      <dgm:prSet phldrT="[Texto]" custT="1"/>
      <dgm:spPr/>
      <dgm:t>
        <a:bodyPr/>
        <a:lstStyle/>
        <a:p>
          <a:r>
            <a:rPr lang="es-CL" sz="1600" b="1" smtClean="0"/>
            <a:t>EPP</a:t>
          </a:r>
          <a:endParaRPr lang="es-CL" sz="1600" b="1" dirty="0"/>
        </a:p>
      </dgm:t>
    </dgm:pt>
    <dgm:pt modelId="{E00C90D6-2B40-4B03-A681-DCE1FB3E6C09}" type="parTrans" cxnId="{130E7EF4-AEAB-49DA-8B64-F6E35CC52C3D}">
      <dgm:prSet/>
      <dgm:spPr/>
      <dgm:t>
        <a:bodyPr/>
        <a:lstStyle/>
        <a:p>
          <a:endParaRPr lang="es-CL" sz="1600" b="1">
            <a:solidFill>
              <a:schemeClr val="bg1"/>
            </a:solidFill>
          </a:endParaRPr>
        </a:p>
      </dgm:t>
    </dgm:pt>
    <dgm:pt modelId="{C5AB7C56-33AD-4125-B185-627D952AFCFF}" type="sibTrans" cxnId="{130E7EF4-AEAB-49DA-8B64-F6E35CC52C3D}">
      <dgm:prSet/>
      <dgm:spPr/>
      <dgm:t>
        <a:bodyPr/>
        <a:lstStyle/>
        <a:p>
          <a:endParaRPr lang="es-CL" sz="1600" b="1">
            <a:solidFill>
              <a:schemeClr val="bg1"/>
            </a:solidFill>
          </a:endParaRPr>
        </a:p>
      </dgm:t>
    </dgm:pt>
    <dgm:pt modelId="{54161E80-0911-4749-98DF-84408E2DA462}">
      <dgm:prSet phldrT="[Texto]" custT="1"/>
      <dgm:spPr/>
      <dgm:t>
        <a:bodyPr/>
        <a:lstStyle/>
        <a:p>
          <a:r>
            <a:rPr lang="es-CL" sz="1600" b="1" smtClean="0"/>
            <a:t>Control técnico</a:t>
          </a:r>
          <a:endParaRPr lang="es-CL" sz="1600" b="1" dirty="0"/>
        </a:p>
      </dgm:t>
    </dgm:pt>
    <dgm:pt modelId="{3AEC5855-66C0-42E4-92F4-A3AE90E1B2E8}" type="parTrans" cxnId="{EF01AF55-E920-4142-BE66-15C37E68FD30}">
      <dgm:prSet/>
      <dgm:spPr/>
      <dgm:t>
        <a:bodyPr/>
        <a:lstStyle/>
        <a:p>
          <a:endParaRPr lang="es-CL" sz="1600" b="1">
            <a:solidFill>
              <a:schemeClr val="bg1"/>
            </a:solidFill>
          </a:endParaRPr>
        </a:p>
      </dgm:t>
    </dgm:pt>
    <dgm:pt modelId="{8D6CCB61-B1E0-4097-8140-284078194275}" type="sibTrans" cxnId="{EF01AF55-E920-4142-BE66-15C37E68FD30}">
      <dgm:prSet/>
      <dgm:spPr/>
      <dgm:t>
        <a:bodyPr/>
        <a:lstStyle/>
        <a:p>
          <a:endParaRPr lang="es-CL" sz="1600" b="1">
            <a:solidFill>
              <a:schemeClr val="bg1"/>
            </a:solidFill>
          </a:endParaRPr>
        </a:p>
      </dgm:t>
    </dgm:pt>
    <dgm:pt modelId="{BEED9968-1176-4374-BAF7-25D262751DE5}">
      <dgm:prSet phldrT="[Texto]" custT="1"/>
      <dgm:spPr/>
      <dgm:t>
        <a:bodyPr/>
        <a:lstStyle/>
        <a:p>
          <a:r>
            <a:rPr lang="es-CL" sz="1600" b="1" smtClean="0"/>
            <a:t>Control administrativo</a:t>
          </a:r>
          <a:endParaRPr lang="es-CL" sz="1600" b="1" dirty="0"/>
        </a:p>
      </dgm:t>
    </dgm:pt>
    <dgm:pt modelId="{233051EF-FE14-4DDD-B06C-F28845C368E3}" type="parTrans" cxnId="{3C18E898-90E5-4EB5-9AEF-D621915A350D}">
      <dgm:prSet/>
      <dgm:spPr/>
      <dgm:t>
        <a:bodyPr/>
        <a:lstStyle/>
        <a:p>
          <a:endParaRPr lang="es-CL" sz="1600" b="1">
            <a:solidFill>
              <a:schemeClr val="bg1"/>
            </a:solidFill>
          </a:endParaRPr>
        </a:p>
      </dgm:t>
    </dgm:pt>
    <dgm:pt modelId="{70C33BB1-F512-4D17-9F48-CCA579F8EDF8}" type="sibTrans" cxnId="{3C18E898-90E5-4EB5-9AEF-D621915A350D}">
      <dgm:prSet/>
      <dgm:spPr/>
      <dgm:t>
        <a:bodyPr/>
        <a:lstStyle/>
        <a:p>
          <a:endParaRPr lang="es-CL" sz="1600" b="1">
            <a:solidFill>
              <a:schemeClr val="bg1"/>
            </a:solidFill>
          </a:endParaRPr>
        </a:p>
      </dgm:t>
    </dgm:pt>
    <dgm:pt modelId="{C5A6A7CA-865E-400E-B998-558E9C5AD2E0}" type="pres">
      <dgm:prSet presAssocID="{35AEB6C4-B9F4-41B6-9682-604093E5EE74}" presName="Name0" presStyleCnt="0">
        <dgm:presLayoutVars>
          <dgm:dir/>
          <dgm:animLvl val="lvl"/>
          <dgm:resizeHandles val="exact"/>
        </dgm:presLayoutVars>
      </dgm:prSet>
      <dgm:spPr/>
    </dgm:pt>
    <dgm:pt modelId="{ACB7CEDC-8EEC-402B-99E5-EC9905C41FD7}" type="pres">
      <dgm:prSet presAssocID="{F49B9727-496F-4A40-B89E-3CB03CE91CAA}" presName="Name8" presStyleCnt="0"/>
      <dgm:spPr/>
    </dgm:pt>
    <dgm:pt modelId="{514B803C-85BE-4F02-9D0E-A0D39C84FA0B}" type="pres">
      <dgm:prSet presAssocID="{F49B9727-496F-4A40-B89E-3CB03CE91CAA}" presName="level" presStyleLbl="node1" presStyleIdx="0" presStyleCnt="5">
        <dgm:presLayoutVars>
          <dgm:chMax val="1"/>
          <dgm:bulletEnabled val="1"/>
        </dgm:presLayoutVars>
      </dgm:prSet>
      <dgm:spPr/>
      <dgm:t>
        <a:bodyPr/>
        <a:lstStyle/>
        <a:p>
          <a:endParaRPr lang="es-CL"/>
        </a:p>
      </dgm:t>
    </dgm:pt>
    <dgm:pt modelId="{E6C09927-2779-4558-8FDF-CDABE35E273A}" type="pres">
      <dgm:prSet presAssocID="{F49B9727-496F-4A40-B89E-3CB03CE91CAA}" presName="levelTx" presStyleLbl="revTx" presStyleIdx="0" presStyleCnt="0">
        <dgm:presLayoutVars>
          <dgm:chMax val="1"/>
          <dgm:bulletEnabled val="1"/>
        </dgm:presLayoutVars>
      </dgm:prSet>
      <dgm:spPr/>
      <dgm:t>
        <a:bodyPr/>
        <a:lstStyle/>
        <a:p>
          <a:endParaRPr lang="es-CL"/>
        </a:p>
      </dgm:t>
    </dgm:pt>
    <dgm:pt modelId="{E0998ADC-222A-4454-9CE7-A4D703FD647C}" type="pres">
      <dgm:prSet presAssocID="{28CD4213-D2A7-44DC-AFBE-30C00CE36094}" presName="Name8" presStyleCnt="0"/>
      <dgm:spPr/>
    </dgm:pt>
    <dgm:pt modelId="{97F971F2-C673-4331-96F9-0C239E06667E}" type="pres">
      <dgm:prSet presAssocID="{28CD4213-D2A7-44DC-AFBE-30C00CE36094}" presName="level" presStyleLbl="node1" presStyleIdx="1" presStyleCnt="5">
        <dgm:presLayoutVars>
          <dgm:chMax val="1"/>
          <dgm:bulletEnabled val="1"/>
        </dgm:presLayoutVars>
      </dgm:prSet>
      <dgm:spPr/>
      <dgm:t>
        <a:bodyPr/>
        <a:lstStyle/>
        <a:p>
          <a:endParaRPr lang="es-CL"/>
        </a:p>
      </dgm:t>
    </dgm:pt>
    <dgm:pt modelId="{C1884195-F0A0-4B47-B1A7-3508B95C8AEC}" type="pres">
      <dgm:prSet presAssocID="{28CD4213-D2A7-44DC-AFBE-30C00CE36094}" presName="levelTx" presStyleLbl="revTx" presStyleIdx="0" presStyleCnt="0">
        <dgm:presLayoutVars>
          <dgm:chMax val="1"/>
          <dgm:bulletEnabled val="1"/>
        </dgm:presLayoutVars>
      </dgm:prSet>
      <dgm:spPr/>
      <dgm:t>
        <a:bodyPr/>
        <a:lstStyle/>
        <a:p>
          <a:endParaRPr lang="es-CL"/>
        </a:p>
      </dgm:t>
    </dgm:pt>
    <dgm:pt modelId="{329C8157-F83A-4C26-A329-71FC2460AFCD}" type="pres">
      <dgm:prSet presAssocID="{54161E80-0911-4749-98DF-84408E2DA462}" presName="Name8" presStyleCnt="0"/>
      <dgm:spPr/>
    </dgm:pt>
    <dgm:pt modelId="{FE712A1D-3D6F-4EA4-B7B7-3A0394BB2044}" type="pres">
      <dgm:prSet presAssocID="{54161E80-0911-4749-98DF-84408E2DA462}" presName="level" presStyleLbl="node1" presStyleIdx="2" presStyleCnt="5">
        <dgm:presLayoutVars>
          <dgm:chMax val="1"/>
          <dgm:bulletEnabled val="1"/>
        </dgm:presLayoutVars>
      </dgm:prSet>
      <dgm:spPr/>
      <dgm:t>
        <a:bodyPr/>
        <a:lstStyle/>
        <a:p>
          <a:endParaRPr lang="es-CL"/>
        </a:p>
      </dgm:t>
    </dgm:pt>
    <dgm:pt modelId="{E967DE87-5136-4670-8D4D-235518D7AE23}" type="pres">
      <dgm:prSet presAssocID="{54161E80-0911-4749-98DF-84408E2DA462}" presName="levelTx" presStyleLbl="revTx" presStyleIdx="0" presStyleCnt="0">
        <dgm:presLayoutVars>
          <dgm:chMax val="1"/>
          <dgm:bulletEnabled val="1"/>
        </dgm:presLayoutVars>
      </dgm:prSet>
      <dgm:spPr/>
      <dgm:t>
        <a:bodyPr/>
        <a:lstStyle/>
        <a:p>
          <a:endParaRPr lang="es-CL"/>
        </a:p>
      </dgm:t>
    </dgm:pt>
    <dgm:pt modelId="{6C397336-C0E6-4ACF-BCAA-30206232A119}" type="pres">
      <dgm:prSet presAssocID="{BEED9968-1176-4374-BAF7-25D262751DE5}" presName="Name8" presStyleCnt="0"/>
      <dgm:spPr/>
    </dgm:pt>
    <dgm:pt modelId="{C682627B-AE31-47A8-8B28-CDC9FFA75765}" type="pres">
      <dgm:prSet presAssocID="{BEED9968-1176-4374-BAF7-25D262751DE5}" presName="level" presStyleLbl="node1" presStyleIdx="3" presStyleCnt="5">
        <dgm:presLayoutVars>
          <dgm:chMax val="1"/>
          <dgm:bulletEnabled val="1"/>
        </dgm:presLayoutVars>
      </dgm:prSet>
      <dgm:spPr/>
      <dgm:t>
        <a:bodyPr/>
        <a:lstStyle/>
        <a:p>
          <a:endParaRPr lang="es-CL"/>
        </a:p>
      </dgm:t>
    </dgm:pt>
    <dgm:pt modelId="{A08257FB-A0A5-485A-A732-A868D0533888}" type="pres">
      <dgm:prSet presAssocID="{BEED9968-1176-4374-BAF7-25D262751DE5}" presName="levelTx" presStyleLbl="revTx" presStyleIdx="0" presStyleCnt="0">
        <dgm:presLayoutVars>
          <dgm:chMax val="1"/>
          <dgm:bulletEnabled val="1"/>
        </dgm:presLayoutVars>
      </dgm:prSet>
      <dgm:spPr/>
      <dgm:t>
        <a:bodyPr/>
        <a:lstStyle/>
        <a:p>
          <a:endParaRPr lang="es-CL"/>
        </a:p>
      </dgm:t>
    </dgm:pt>
    <dgm:pt modelId="{3B484506-D43E-409B-AA15-8119184FD497}" type="pres">
      <dgm:prSet presAssocID="{D43F6617-13CF-43D4-B3A6-60F0C549181F}" presName="Name8" presStyleCnt="0"/>
      <dgm:spPr/>
    </dgm:pt>
    <dgm:pt modelId="{41E4D641-8158-46DE-95E6-4567C98B4206}" type="pres">
      <dgm:prSet presAssocID="{D43F6617-13CF-43D4-B3A6-60F0C549181F}" presName="level" presStyleLbl="node1" presStyleIdx="4" presStyleCnt="5">
        <dgm:presLayoutVars>
          <dgm:chMax val="1"/>
          <dgm:bulletEnabled val="1"/>
        </dgm:presLayoutVars>
      </dgm:prSet>
      <dgm:spPr/>
      <dgm:t>
        <a:bodyPr/>
        <a:lstStyle/>
        <a:p>
          <a:endParaRPr lang="es-CL"/>
        </a:p>
      </dgm:t>
    </dgm:pt>
    <dgm:pt modelId="{0D30D72F-D19F-43A7-A31A-AB2FB61372EB}" type="pres">
      <dgm:prSet presAssocID="{D43F6617-13CF-43D4-B3A6-60F0C549181F}" presName="levelTx" presStyleLbl="revTx" presStyleIdx="0" presStyleCnt="0">
        <dgm:presLayoutVars>
          <dgm:chMax val="1"/>
          <dgm:bulletEnabled val="1"/>
        </dgm:presLayoutVars>
      </dgm:prSet>
      <dgm:spPr/>
      <dgm:t>
        <a:bodyPr/>
        <a:lstStyle/>
        <a:p>
          <a:endParaRPr lang="es-CL"/>
        </a:p>
      </dgm:t>
    </dgm:pt>
  </dgm:ptLst>
  <dgm:cxnLst>
    <dgm:cxn modelId="{40A32D27-936A-45BD-973D-76285CB7A47F}" type="presOf" srcId="{54161E80-0911-4749-98DF-84408E2DA462}" destId="{E967DE87-5136-4670-8D4D-235518D7AE23}" srcOrd="1" destOrd="0" presId="urn:microsoft.com/office/officeart/2005/8/layout/pyramid3"/>
    <dgm:cxn modelId="{E4DC6E5E-C317-451B-BCE4-9FEB0A89307A}" type="presOf" srcId="{F49B9727-496F-4A40-B89E-3CB03CE91CAA}" destId="{514B803C-85BE-4F02-9D0E-A0D39C84FA0B}" srcOrd="0" destOrd="0" presId="urn:microsoft.com/office/officeart/2005/8/layout/pyramid3"/>
    <dgm:cxn modelId="{5B19B35A-2780-426E-89A2-0987C66C1BA1}" type="presOf" srcId="{54161E80-0911-4749-98DF-84408E2DA462}" destId="{FE712A1D-3D6F-4EA4-B7B7-3A0394BB2044}" srcOrd="0" destOrd="0" presId="urn:microsoft.com/office/officeart/2005/8/layout/pyramid3"/>
    <dgm:cxn modelId="{C7314227-B391-4780-A136-9F8C625FC952}" type="presOf" srcId="{28CD4213-D2A7-44DC-AFBE-30C00CE36094}" destId="{C1884195-F0A0-4B47-B1A7-3508B95C8AEC}" srcOrd="1" destOrd="0" presId="urn:microsoft.com/office/officeart/2005/8/layout/pyramid3"/>
    <dgm:cxn modelId="{EF01AF55-E920-4142-BE66-15C37E68FD30}" srcId="{35AEB6C4-B9F4-41B6-9682-604093E5EE74}" destId="{54161E80-0911-4749-98DF-84408E2DA462}" srcOrd="2" destOrd="0" parTransId="{3AEC5855-66C0-42E4-92F4-A3AE90E1B2E8}" sibTransId="{8D6CCB61-B1E0-4097-8140-284078194275}"/>
    <dgm:cxn modelId="{5F0ACAC8-3581-4785-BC0A-AE8F3E525C32}" type="presOf" srcId="{D43F6617-13CF-43D4-B3A6-60F0C549181F}" destId="{41E4D641-8158-46DE-95E6-4567C98B4206}" srcOrd="0" destOrd="0" presId="urn:microsoft.com/office/officeart/2005/8/layout/pyramid3"/>
    <dgm:cxn modelId="{A7DF0357-98C3-49D5-8F1B-E8C1E45717C7}" type="presOf" srcId="{35AEB6C4-B9F4-41B6-9682-604093E5EE74}" destId="{C5A6A7CA-865E-400E-B998-558E9C5AD2E0}" srcOrd="0" destOrd="0" presId="urn:microsoft.com/office/officeart/2005/8/layout/pyramid3"/>
    <dgm:cxn modelId="{130E7EF4-AEAB-49DA-8B64-F6E35CC52C3D}" srcId="{35AEB6C4-B9F4-41B6-9682-604093E5EE74}" destId="{D43F6617-13CF-43D4-B3A6-60F0C549181F}" srcOrd="4" destOrd="0" parTransId="{E00C90D6-2B40-4B03-A681-DCE1FB3E6C09}" sibTransId="{C5AB7C56-33AD-4125-B185-627D952AFCFF}"/>
    <dgm:cxn modelId="{2224BCB9-E835-4B0F-A11B-9B79A369ABBB}" type="presOf" srcId="{D43F6617-13CF-43D4-B3A6-60F0C549181F}" destId="{0D30D72F-D19F-43A7-A31A-AB2FB61372EB}" srcOrd="1" destOrd="0" presId="urn:microsoft.com/office/officeart/2005/8/layout/pyramid3"/>
    <dgm:cxn modelId="{410847E8-8147-41D5-8049-9B9C02EC1ABB}" srcId="{35AEB6C4-B9F4-41B6-9682-604093E5EE74}" destId="{F49B9727-496F-4A40-B89E-3CB03CE91CAA}" srcOrd="0" destOrd="0" parTransId="{A7D8BB91-F9C6-4843-8F4D-3F05A2D03B16}" sibTransId="{63A7CABE-E1E6-4C15-9521-C8F75584CE8C}"/>
    <dgm:cxn modelId="{2580B303-306B-4E33-B3AC-84D13EFFA291}" type="presOf" srcId="{28CD4213-D2A7-44DC-AFBE-30C00CE36094}" destId="{97F971F2-C673-4331-96F9-0C239E06667E}" srcOrd="0" destOrd="0" presId="urn:microsoft.com/office/officeart/2005/8/layout/pyramid3"/>
    <dgm:cxn modelId="{7A79E8D7-A490-46D4-B13D-6BC6DB578541}" srcId="{35AEB6C4-B9F4-41B6-9682-604093E5EE74}" destId="{28CD4213-D2A7-44DC-AFBE-30C00CE36094}" srcOrd="1" destOrd="0" parTransId="{B2BC30C7-AFB4-4E87-9434-9E8A0C7A06BA}" sibTransId="{06AEE679-922E-4BE4-8639-BCD2F14592B6}"/>
    <dgm:cxn modelId="{3C18E898-90E5-4EB5-9AEF-D621915A350D}" srcId="{35AEB6C4-B9F4-41B6-9682-604093E5EE74}" destId="{BEED9968-1176-4374-BAF7-25D262751DE5}" srcOrd="3" destOrd="0" parTransId="{233051EF-FE14-4DDD-B06C-F28845C368E3}" sibTransId="{70C33BB1-F512-4D17-9F48-CCA579F8EDF8}"/>
    <dgm:cxn modelId="{29E54590-9B00-4722-8588-E6FE5CD52726}" type="presOf" srcId="{BEED9968-1176-4374-BAF7-25D262751DE5}" destId="{A08257FB-A0A5-485A-A732-A868D0533888}" srcOrd="1" destOrd="0" presId="urn:microsoft.com/office/officeart/2005/8/layout/pyramid3"/>
    <dgm:cxn modelId="{0FFD8F20-E8ED-408E-9497-B5213FC1F872}" type="presOf" srcId="{F49B9727-496F-4A40-B89E-3CB03CE91CAA}" destId="{E6C09927-2779-4558-8FDF-CDABE35E273A}" srcOrd="1" destOrd="0" presId="urn:microsoft.com/office/officeart/2005/8/layout/pyramid3"/>
    <dgm:cxn modelId="{98530446-C5CA-487A-966C-E50C2A09D162}" type="presOf" srcId="{BEED9968-1176-4374-BAF7-25D262751DE5}" destId="{C682627B-AE31-47A8-8B28-CDC9FFA75765}" srcOrd="0" destOrd="0" presId="urn:microsoft.com/office/officeart/2005/8/layout/pyramid3"/>
    <dgm:cxn modelId="{7ADDEB8F-0147-48F3-8CE5-6F7DC9706BA5}" type="presParOf" srcId="{C5A6A7CA-865E-400E-B998-558E9C5AD2E0}" destId="{ACB7CEDC-8EEC-402B-99E5-EC9905C41FD7}" srcOrd="0" destOrd="0" presId="urn:microsoft.com/office/officeart/2005/8/layout/pyramid3"/>
    <dgm:cxn modelId="{EA1B6B93-4830-48E6-85D1-D7B3421B69B2}" type="presParOf" srcId="{ACB7CEDC-8EEC-402B-99E5-EC9905C41FD7}" destId="{514B803C-85BE-4F02-9D0E-A0D39C84FA0B}" srcOrd="0" destOrd="0" presId="urn:microsoft.com/office/officeart/2005/8/layout/pyramid3"/>
    <dgm:cxn modelId="{49E9E265-0131-48C4-B29E-25D4090735CE}" type="presParOf" srcId="{ACB7CEDC-8EEC-402B-99E5-EC9905C41FD7}" destId="{E6C09927-2779-4558-8FDF-CDABE35E273A}" srcOrd="1" destOrd="0" presId="urn:microsoft.com/office/officeart/2005/8/layout/pyramid3"/>
    <dgm:cxn modelId="{E153A67E-C87F-4591-AFDB-71FD41995413}" type="presParOf" srcId="{C5A6A7CA-865E-400E-B998-558E9C5AD2E0}" destId="{E0998ADC-222A-4454-9CE7-A4D703FD647C}" srcOrd="1" destOrd="0" presId="urn:microsoft.com/office/officeart/2005/8/layout/pyramid3"/>
    <dgm:cxn modelId="{62A16FF8-B84D-4CF8-AC90-3AC0EC8B6759}" type="presParOf" srcId="{E0998ADC-222A-4454-9CE7-A4D703FD647C}" destId="{97F971F2-C673-4331-96F9-0C239E06667E}" srcOrd="0" destOrd="0" presId="urn:microsoft.com/office/officeart/2005/8/layout/pyramid3"/>
    <dgm:cxn modelId="{42ED3A37-6FAA-4119-92DD-55A2B1CAFD63}" type="presParOf" srcId="{E0998ADC-222A-4454-9CE7-A4D703FD647C}" destId="{C1884195-F0A0-4B47-B1A7-3508B95C8AEC}" srcOrd="1" destOrd="0" presId="urn:microsoft.com/office/officeart/2005/8/layout/pyramid3"/>
    <dgm:cxn modelId="{72D490AB-14A2-4757-9184-6A249E527548}" type="presParOf" srcId="{C5A6A7CA-865E-400E-B998-558E9C5AD2E0}" destId="{329C8157-F83A-4C26-A329-71FC2460AFCD}" srcOrd="2" destOrd="0" presId="urn:microsoft.com/office/officeart/2005/8/layout/pyramid3"/>
    <dgm:cxn modelId="{63919BFB-97C3-4065-B4AA-5DD972F4E562}" type="presParOf" srcId="{329C8157-F83A-4C26-A329-71FC2460AFCD}" destId="{FE712A1D-3D6F-4EA4-B7B7-3A0394BB2044}" srcOrd="0" destOrd="0" presId="urn:microsoft.com/office/officeart/2005/8/layout/pyramid3"/>
    <dgm:cxn modelId="{833586BE-F3A3-4C06-96F8-C4F61B783D04}" type="presParOf" srcId="{329C8157-F83A-4C26-A329-71FC2460AFCD}" destId="{E967DE87-5136-4670-8D4D-235518D7AE23}" srcOrd="1" destOrd="0" presId="urn:microsoft.com/office/officeart/2005/8/layout/pyramid3"/>
    <dgm:cxn modelId="{E368DDAC-BD4E-4415-B7DE-D916342B3355}" type="presParOf" srcId="{C5A6A7CA-865E-400E-B998-558E9C5AD2E0}" destId="{6C397336-C0E6-4ACF-BCAA-30206232A119}" srcOrd="3" destOrd="0" presId="urn:microsoft.com/office/officeart/2005/8/layout/pyramid3"/>
    <dgm:cxn modelId="{76F2E90A-D317-4154-BC3A-CD3FCCE5951A}" type="presParOf" srcId="{6C397336-C0E6-4ACF-BCAA-30206232A119}" destId="{C682627B-AE31-47A8-8B28-CDC9FFA75765}" srcOrd="0" destOrd="0" presId="urn:microsoft.com/office/officeart/2005/8/layout/pyramid3"/>
    <dgm:cxn modelId="{37F359D3-153B-4F9A-8F32-F051DC4C8591}" type="presParOf" srcId="{6C397336-C0E6-4ACF-BCAA-30206232A119}" destId="{A08257FB-A0A5-485A-A732-A868D0533888}" srcOrd="1" destOrd="0" presId="urn:microsoft.com/office/officeart/2005/8/layout/pyramid3"/>
    <dgm:cxn modelId="{C11A0035-AF90-4A64-846E-4ACC749BE2DE}" type="presParOf" srcId="{C5A6A7CA-865E-400E-B998-558E9C5AD2E0}" destId="{3B484506-D43E-409B-AA15-8119184FD497}" srcOrd="4" destOrd="0" presId="urn:microsoft.com/office/officeart/2005/8/layout/pyramid3"/>
    <dgm:cxn modelId="{B1329564-FEF7-4437-B6E5-F0F3CB9E1A54}" type="presParOf" srcId="{3B484506-D43E-409B-AA15-8119184FD497}" destId="{41E4D641-8158-46DE-95E6-4567C98B4206}" srcOrd="0" destOrd="0" presId="urn:microsoft.com/office/officeart/2005/8/layout/pyramid3"/>
    <dgm:cxn modelId="{A40849C1-24B8-497E-9F20-F88F4673C534}" type="presParOf" srcId="{3B484506-D43E-409B-AA15-8119184FD497}" destId="{0D30D72F-D19F-43A7-A31A-AB2FB61372EB}"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36B1FA-7FE4-4424-8C7F-ED10679A7BBB}">
      <dsp:nvSpPr>
        <dsp:cNvPr id="0" name=""/>
        <dsp:cNvSpPr/>
      </dsp:nvSpPr>
      <dsp:spPr>
        <a:xfrm>
          <a:off x="2221833" y="5865"/>
          <a:ext cx="1634520" cy="897968"/>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b="1" kern="1200" dirty="0"/>
            <a:t>Manipulación manual  de cargas</a:t>
          </a:r>
        </a:p>
      </dsp:txBody>
      <dsp:txXfrm>
        <a:off x="2265668" y="49700"/>
        <a:ext cx="1546850" cy="810298"/>
      </dsp:txXfrm>
    </dsp:sp>
    <dsp:sp modelId="{81FD4A4A-C6E3-41F2-9AF1-0C2C11CA3463}">
      <dsp:nvSpPr>
        <dsp:cNvPr id="0" name=""/>
        <dsp:cNvSpPr/>
      </dsp:nvSpPr>
      <dsp:spPr>
        <a:xfrm>
          <a:off x="977558" y="454849"/>
          <a:ext cx="4123070" cy="4123070"/>
        </a:xfrm>
        <a:custGeom>
          <a:avLst/>
          <a:gdLst/>
          <a:ahLst/>
          <a:cxnLst/>
          <a:rect l="0" t="0" r="0" b="0"/>
          <a:pathLst>
            <a:path>
              <a:moveTo>
                <a:pt x="2884955" y="171586"/>
              </a:moveTo>
              <a:arcTo wR="2061535" hR="2061535" stAng="17612518" swAng="1102224"/>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D85445B1-24CD-492C-8446-FEC9CAE7CBCD}">
      <dsp:nvSpPr>
        <dsp:cNvPr id="0" name=""/>
        <dsp:cNvSpPr/>
      </dsp:nvSpPr>
      <dsp:spPr>
        <a:xfrm>
          <a:off x="3998033" y="986750"/>
          <a:ext cx="1652804" cy="997733"/>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s-CL" sz="1200" b="1" kern="1200" dirty="0">
              <a:latin typeface="Arial" panose="020B0604020202020204"/>
              <a:ea typeface="+mn-ea"/>
              <a:cs typeface="+mn-cs"/>
            </a:rPr>
            <a:t>Manejo manual de pacientes/personas</a:t>
          </a:r>
        </a:p>
      </dsp:txBody>
      <dsp:txXfrm>
        <a:off x="4046738" y="1035455"/>
        <a:ext cx="1555394" cy="900323"/>
      </dsp:txXfrm>
    </dsp:sp>
    <dsp:sp modelId="{194BE627-1AC5-4FF5-B0C1-681C70E8E239}">
      <dsp:nvSpPr>
        <dsp:cNvPr id="0" name=""/>
        <dsp:cNvSpPr/>
      </dsp:nvSpPr>
      <dsp:spPr>
        <a:xfrm>
          <a:off x="959151" y="380395"/>
          <a:ext cx="4123070" cy="4123070"/>
        </a:xfrm>
        <a:custGeom>
          <a:avLst/>
          <a:gdLst/>
          <a:ahLst/>
          <a:cxnLst/>
          <a:rect l="0" t="0" r="0" b="0"/>
          <a:pathLst>
            <a:path>
              <a:moveTo>
                <a:pt x="4073781" y="1613434"/>
              </a:moveTo>
              <a:arcTo wR="2061535" hR="2061535" stAng="20846750" swAng="1580298"/>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07527625-79EC-4FB6-A029-8DB327FEA2CC}">
      <dsp:nvSpPr>
        <dsp:cNvPr id="0" name=""/>
        <dsp:cNvSpPr/>
      </dsp:nvSpPr>
      <dsp:spPr>
        <a:xfrm>
          <a:off x="4042421" y="2942419"/>
          <a:ext cx="1633686" cy="930780"/>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b="1" kern="1200" dirty="0"/>
            <a:t>Postura de trabajo estática</a:t>
          </a:r>
        </a:p>
      </dsp:txBody>
      <dsp:txXfrm>
        <a:off x="4087858" y="2987856"/>
        <a:ext cx="1542812" cy="839906"/>
      </dsp:txXfrm>
    </dsp:sp>
    <dsp:sp modelId="{B84CF607-6805-491F-8660-C2CB462815A5}">
      <dsp:nvSpPr>
        <dsp:cNvPr id="0" name=""/>
        <dsp:cNvSpPr/>
      </dsp:nvSpPr>
      <dsp:spPr>
        <a:xfrm>
          <a:off x="901315" y="489612"/>
          <a:ext cx="4123070" cy="4123070"/>
        </a:xfrm>
        <a:custGeom>
          <a:avLst/>
          <a:gdLst/>
          <a:ahLst/>
          <a:cxnLst/>
          <a:rect l="0" t="0" r="0" b="0"/>
          <a:pathLst>
            <a:path>
              <a:moveTo>
                <a:pt x="3637729" y="3390271"/>
              </a:moveTo>
              <a:arcTo wR="2061535" hR="2061535" stAng="2407860" swAng="1437112"/>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8C6B2CE5-F8DB-4AEC-AD67-06B638E1C98A}">
      <dsp:nvSpPr>
        <dsp:cNvPr id="0" name=""/>
        <dsp:cNvSpPr/>
      </dsp:nvSpPr>
      <dsp:spPr>
        <a:xfrm>
          <a:off x="2222156" y="4161625"/>
          <a:ext cx="1633874" cy="832589"/>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b="1" kern="1200" dirty="0"/>
            <a:t>Trabajo repetitivo miembros superiores</a:t>
          </a:r>
        </a:p>
      </dsp:txBody>
      <dsp:txXfrm>
        <a:off x="2262800" y="4202269"/>
        <a:ext cx="1552586" cy="751301"/>
      </dsp:txXfrm>
    </dsp:sp>
    <dsp:sp modelId="{C61EC8FA-1C57-4508-BA3A-52D3BCAA4B3B}">
      <dsp:nvSpPr>
        <dsp:cNvPr id="0" name=""/>
        <dsp:cNvSpPr/>
      </dsp:nvSpPr>
      <dsp:spPr>
        <a:xfrm>
          <a:off x="1099201" y="512128"/>
          <a:ext cx="4123070" cy="4123070"/>
        </a:xfrm>
        <a:custGeom>
          <a:avLst/>
          <a:gdLst/>
          <a:ahLst/>
          <a:cxnLst/>
          <a:rect l="0" t="0" r="0" b="0"/>
          <a:pathLst>
            <a:path>
              <a:moveTo>
                <a:pt x="1114077" y="3892451"/>
              </a:moveTo>
              <a:arcTo wR="2061535" hR="2061535" stAng="7041632" swAng="1647936"/>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5CB1923B-CCA7-459F-A0DB-B6051F7C207F}">
      <dsp:nvSpPr>
        <dsp:cNvPr id="0" name=""/>
        <dsp:cNvSpPr/>
      </dsp:nvSpPr>
      <dsp:spPr>
        <a:xfrm>
          <a:off x="420397" y="2888399"/>
          <a:ext cx="1579641" cy="864658"/>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b="1" kern="1200" dirty="0"/>
            <a:t>Vibraciones  cuerpo completo</a:t>
          </a:r>
        </a:p>
      </dsp:txBody>
      <dsp:txXfrm>
        <a:off x="462606" y="2930608"/>
        <a:ext cx="1495223" cy="780240"/>
      </dsp:txXfrm>
    </dsp:sp>
    <dsp:sp modelId="{3028D2D1-94B3-46DC-9852-38637112FD46}">
      <dsp:nvSpPr>
        <dsp:cNvPr id="0" name=""/>
        <dsp:cNvSpPr/>
      </dsp:nvSpPr>
      <dsp:spPr>
        <a:xfrm>
          <a:off x="1013422" y="322403"/>
          <a:ext cx="4123070" cy="4123070"/>
        </a:xfrm>
        <a:custGeom>
          <a:avLst/>
          <a:gdLst/>
          <a:ahLst/>
          <a:cxnLst/>
          <a:rect l="0" t="0" r="0" b="0"/>
          <a:pathLst>
            <a:path>
              <a:moveTo>
                <a:pt x="60305" y="2556519"/>
              </a:moveTo>
              <a:arcTo wR="2061535" hR="2061535" stAng="9966438" swAng="1611934"/>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 modelId="{F1B34492-806B-40EC-8760-8039D8418060}">
      <dsp:nvSpPr>
        <dsp:cNvPr id="0" name=""/>
        <dsp:cNvSpPr/>
      </dsp:nvSpPr>
      <dsp:spPr>
        <a:xfrm>
          <a:off x="445162" y="1059602"/>
          <a:ext cx="1617178" cy="852030"/>
        </a:xfrm>
        <a:prstGeom prst="roundRect">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b="1" kern="1200" dirty="0"/>
            <a:t>Vibraciones  segmento mano/brazo</a:t>
          </a:r>
        </a:p>
      </dsp:txBody>
      <dsp:txXfrm>
        <a:off x="486755" y="1101195"/>
        <a:ext cx="1533992" cy="768844"/>
      </dsp:txXfrm>
    </dsp:sp>
    <dsp:sp modelId="{3E392A33-E91A-471B-B7ED-B5CA85BC22C1}">
      <dsp:nvSpPr>
        <dsp:cNvPr id="0" name=""/>
        <dsp:cNvSpPr/>
      </dsp:nvSpPr>
      <dsp:spPr>
        <a:xfrm>
          <a:off x="977558" y="454849"/>
          <a:ext cx="4123070" cy="4123070"/>
        </a:xfrm>
        <a:custGeom>
          <a:avLst/>
          <a:gdLst/>
          <a:ahLst/>
          <a:cxnLst/>
          <a:rect l="0" t="0" r="0" b="0"/>
          <a:pathLst>
            <a:path>
              <a:moveTo>
                <a:pt x="608357" y="599275"/>
              </a:moveTo>
              <a:arcTo wR="2061535" hR="2061535" stAng="13510709" swAng="1275038"/>
            </a:path>
          </a:pathLst>
        </a:custGeom>
        <a:noFill/>
        <a:ln w="19050" cap="flat" cmpd="sng" algn="ctr">
          <a:solidFill>
            <a:schemeClr val="bg2">
              <a:lumMod val="50000"/>
            </a:schemeClr>
          </a:solidFill>
          <a:prstDash val="solid"/>
          <a:miter lim="800000"/>
        </a:ln>
        <a:effectLst/>
        <a:scene3d>
          <a:camera prst="orthographicFront">
            <a:rot lat="0" lon="0" rev="0"/>
          </a:camera>
          <a:lightRig rig="contrasting" dir="t">
            <a:rot lat="0" lon="0" rev="1200000"/>
          </a:lightRig>
        </a:scene3d>
        <a:sp3d z="-110000"/>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64A10A-F041-40AC-8A8F-B7E059D83751}">
      <dsp:nvSpPr>
        <dsp:cNvPr id="0" name=""/>
        <dsp:cNvSpPr/>
      </dsp:nvSpPr>
      <dsp:spPr>
        <a:xfrm>
          <a:off x="4034"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kern="1200" dirty="0"/>
            <a:t>Caracterización puestos de trabajo</a:t>
          </a:r>
        </a:p>
      </dsp:txBody>
      <dsp:txXfrm>
        <a:off x="26013" y="1760634"/>
        <a:ext cx="1206722" cy="706450"/>
      </dsp:txXfrm>
    </dsp:sp>
    <dsp:sp modelId="{D88662F4-8C94-46F2-A088-D85B631963BD}">
      <dsp:nvSpPr>
        <dsp:cNvPr id="0" name=""/>
        <dsp:cNvSpPr/>
      </dsp:nvSpPr>
      <dsp:spPr>
        <a:xfrm>
          <a:off x="1379783"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CL" sz="1000" kern="1200"/>
        </a:p>
      </dsp:txBody>
      <dsp:txXfrm>
        <a:off x="1379783" y="2020809"/>
        <a:ext cx="185601" cy="186100"/>
      </dsp:txXfrm>
    </dsp:sp>
    <dsp:sp modelId="{CE5FFE5A-069F-4796-BB60-0846CCD4D8AB}">
      <dsp:nvSpPr>
        <dsp:cNvPr id="0" name=""/>
        <dsp:cNvSpPr/>
      </dsp:nvSpPr>
      <dsp:spPr>
        <a:xfrm>
          <a:off x="1754987"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kern="1200" dirty="0"/>
            <a:t>Identificación inicial</a:t>
          </a:r>
        </a:p>
      </dsp:txBody>
      <dsp:txXfrm>
        <a:off x="1776966" y="1760634"/>
        <a:ext cx="1206722" cy="706450"/>
      </dsp:txXfrm>
    </dsp:sp>
    <dsp:sp modelId="{0FFC9C46-E488-4BCF-973D-8FE084777599}">
      <dsp:nvSpPr>
        <dsp:cNvPr id="0" name=""/>
        <dsp:cNvSpPr/>
      </dsp:nvSpPr>
      <dsp:spPr>
        <a:xfrm>
          <a:off x="3130736"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CL" sz="1000" kern="1200"/>
        </a:p>
      </dsp:txBody>
      <dsp:txXfrm>
        <a:off x="3130736" y="2020809"/>
        <a:ext cx="185601" cy="186100"/>
      </dsp:txXfrm>
    </dsp:sp>
    <dsp:sp modelId="{B99636B1-4BC2-4B2C-9EF0-07B6EBDBCEDA}">
      <dsp:nvSpPr>
        <dsp:cNvPr id="0" name=""/>
        <dsp:cNvSpPr/>
      </dsp:nvSpPr>
      <dsp:spPr>
        <a:xfrm>
          <a:off x="3505940"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kern="1200" dirty="0"/>
            <a:t>Identificación avanzada</a:t>
          </a:r>
        </a:p>
      </dsp:txBody>
      <dsp:txXfrm>
        <a:off x="3527919" y="1760634"/>
        <a:ext cx="1206722" cy="706450"/>
      </dsp:txXfrm>
    </dsp:sp>
    <dsp:sp modelId="{A11C8230-BAC3-4EFA-B537-78E632F6E295}">
      <dsp:nvSpPr>
        <dsp:cNvPr id="0" name=""/>
        <dsp:cNvSpPr/>
      </dsp:nvSpPr>
      <dsp:spPr>
        <a:xfrm>
          <a:off x="4881688"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CL" sz="1000" kern="1200"/>
        </a:p>
      </dsp:txBody>
      <dsp:txXfrm>
        <a:off x="4881688" y="2020809"/>
        <a:ext cx="185601" cy="186100"/>
      </dsp:txXfrm>
    </dsp:sp>
    <dsp:sp modelId="{115ECCE5-F08D-4052-8C8F-2125960B3499}">
      <dsp:nvSpPr>
        <dsp:cNvPr id="0" name=""/>
        <dsp:cNvSpPr/>
      </dsp:nvSpPr>
      <dsp:spPr>
        <a:xfrm>
          <a:off x="5256893"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kern="1200" dirty="0"/>
            <a:t>Evaluación inicial </a:t>
          </a:r>
        </a:p>
      </dsp:txBody>
      <dsp:txXfrm>
        <a:off x="5278872" y="1760634"/>
        <a:ext cx="1206722" cy="706450"/>
      </dsp:txXfrm>
    </dsp:sp>
    <dsp:sp modelId="{17109CBB-5F42-461E-8CA9-C01D486E4C00}">
      <dsp:nvSpPr>
        <dsp:cNvPr id="0" name=""/>
        <dsp:cNvSpPr/>
      </dsp:nvSpPr>
      <dsp:spPr>
        <a:xfrm>
          <a:off x="6632641" y="1958775"/>
          <a:ext cx="265144" cy="310168"/>
        </a:xfrm>
        <a:prstGeom prst="rightArrow">
          <a:avLst>
            <a:gd name="adj1" fmla="val 60000"/>
            <a:gd name="adj2" fmla="val 50000"/>
          </a:avLst>
        </a:prstGeom>
        <a:solidFill>
          <a:srgbClr val="13C045"/>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s-CL" sz="1000" kern="1200"/>
        </a:p>
      </dsp:txBody>
      <dsp:txXfrm>
        <a:off x="6632641" y="2020809"/>
        <a:ext cx="185601" cy="186100"/>
      </dsp:txXfrm>
    </dsp:sp>
    <dsp:sp modelId="{9FD07EE7-786F-4494-B7B4-261D87657169}">
      <dsp:nvSpPr>
        <dsp:cNvPr id="0" name=""/>
        <dsp:cNvSpPr/>
      </dsp:nvSpPr>
      <dsp:spPr>
        <a:xfrm>
          <a:off x="7007845" y="1738655"/>
          <a:ext cx="1250680" cy="750408"/>
        </a:xfrm>
        <a:prstGeom prst="roundRect">
          <a:avLst>
            <a:gd name="adj" fmla="val 10000"/>
          </a:avLst>
        </a:prstGeom>
        <a:solidFill>
          <a:srgbClr val="13C045"/>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s-CL" sz="1200" kern="1200" dirty="0"/>
            <a:t>Evaluación avanzada</a:t>
          </a:r>
        </a:p>
      </dsp:txBody>
      <dsp:txXfrm>
        <a:off x="7029824" y="1760634"/>
        <a:ext cx="1206722" cy="7064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4B803C-85BE-4F02-9D0E-A0D39C84FA0B}">
      <dsp:nvSpPr>
        <dsp:cNvPr id="0" name=""/>
        <dsp:cNvSpPr/>
      </dsp:nvSpPr>
      <dsp:spPr>
        <a:xfrm rot="10800000">
          <a:off x="0" y="0"/>
          <a:ext cx="5517196" cy="968063"/>
        </a:xfrm>
        <a:prstGeom prst="trapezoid">
          <a:avLst>
            <a:gd name="adj" fmla="val 56992"/>
          </a:avLst>
        </a:prstGeom>
        <a:solidFill>
          <a:schemeClr val="accent2">
            <a:shade val="80000"/>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L" sz="1600" b="1" kern="1200" smtClean="0"/>
            <a:t>Eliminación</a:t>
          </a:r>
          <a:endParaRPr lang="es-CL" sz="1600" b="1" kern="1200" dirty="0"/>
        </a:p>
      </dsp:txBody>
      <dsp:txXfrm rot="-10800000">
        <a:off x="965509" y="0"/>
        <a:ext cx="3586177" cy="968063"/>
      </dsp:txXfrm>
    </dsp:sp>
    <dsp:sp modelId="{97F971F2-C673-4331-96F9-0C239E06667E}">
      <dsp:nvSpPr>
        <dsp:cNvPr id="0" name=""/>
        <dsp:cNvSpPr/>
      </dsp:nvSpPr>
      <dsp:spPr>
        <a:xfrm rot="10800000">
          <a:off x="551719" y="968063"/>
          <a:ext cx="4413756" cy="968063"/>
        </a:xfrm>
        <a:prstGeom prst="trapezoid">
          <a:avLst>
            <a:gd name="adj" fmla="val 56992"/>
          </a:avLst>
        </a:prstGeom>
        <a:solidFill>
          <a:schemeClr val="accent2">
            <a:shade val="80000"/>
            <a:hueOff val="88431"/>
            <a:satOff val="5497"/>
            <a:lumOff val="589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L" sz="1600" b="1" kern="1200" smtClean="0"/>
            <a:t>Sustitución</a:t>
          </a:r>
          <a:endParaRPr lang="es-CL" sz="1600" b="1" kern="1200" dirty="0"/>
        </a:p>
      </dsp:txBody>
      <dsp:txXfrm rot="-10800000">
        <a:off x="1324127" y="968063"/>
        <a:ext cx="2868941" cy="968063"/>
      </dsp:txXfrm>
    </dsp:sp>
    <dsp:sp modelId="{FE712A1D-3D6F-4EA4-B7B7-3A0394BB2044}">
      <dsp:nvSpPr>
        <dsp:cNvPr id="0" name=""/>
        <dsp:cNvSpPr/>
      </dsp:nvSpPr>
      <dsp:spPr>
        <a:xfrm rot="10800000">
          <a:off x="1103439" y="1936126"/>
          <a:ext cx="3310317" cy="968063"/>
        </a:xfrm>
        <a:prstGeom prst="trapezoid">
          <a:avLst>
            <a:gd name="adj" fmla="val 56992"/>
          </a:avLst>
        </a:prstGeom>
        <a:solidFill>
          <a:schemeClr val="accent2">
            <a:shade val="80000"/>
            <a:hueOff val="176862"/>
            <a:satOff val="10994"/>
            <a:lumOff val="11784"/>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L" sz="1600" b="1" kern="1200" smtClean="0"/>
            <a:t>Control técnico</a:t>
          </a:r>
          <a:endParaRPr lang="es-CL" sz="1600" b="1" kern="1200" dirty="0"/>
        </a:p>
      </dsp:txBody>
      <dsp:txXfrm rot="-10800000">
        <a:off x="1682744" y="1936126"/>
        <a:ext cx="2151706" cy="968063"/>
      </dsp:txXfrm>
    </dsp:sp>
    <dsp:sp modelId="{C682627B-AE31-47A8-8B28-CDC9FFA75765}">
      <dsp:nvSpPr>
        <dsp:cNvPr id="0" name=""/>
        <dsp:cNvSpPr/>
      </dsp:nvSpPr>
      <dsp:spPr>
        <a:xfrm rot="10800000">
          <a:off x="1655158" y="2904190"/>
          <a:ext cx="2206878" cy="968063"/>
        </a:xfrm>
        <a:prstGeom prst="trapezoid">
          <a:avLst>
            <a:gd name="adj" fmla="val 56992"/>
          </a:avLst>
        </a:prstGeom>
        <a:solidFill>
          <a:schemeClr val="accent2">
            <a:shade val="80000"/>
            <a:hueOff val="265294"/>
            <a:satOff val="16491"/>
            <a:lumOff val="1767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L" sz="1600" b="1" kern="1200" smtClean="0"/>
            <a:t>Control administrativo</a:t>
          </a:r>
          <a:endParaRPr lang="es-CL" sz="1600" b="1" kern="1200" dirty="0"/>
        </a:p>
      </dsp:txBody>
      <dsp:txXfrm rot="-10800000">
        <a:off x="2041362" y="2904190"/>
        <a:ext cx="1434470" cy="968063"/>
      </dsp:txXfrm>
    </dsp:sp>
    <dsp:sp modelId="{41E4D641-8158-46DE-95E6-4567C98B4206}">
      <dsp:nvSpPr>
        <dsp:cNvPr id="0" name=""/>
        <dsp:cNvSpPr/>
      </dsp:nvSpPr>
      <dsp:spPr>
        <a:xfrm rot="10800000">
          <a:off x="2206878" y="3872253"/>
          <a:ext cx="1103439" cy="968063"/>
        </a:xfrm>
        <a:prstGeom prst="trapezoid">
          <a:avLst>
            <a:gd name="adj" fmla="val 56992"/>
          </a:avLst>
        </a:prstGeom>
        <a:solidFill>
          <a:schemeClr val="accent2">
            <a:shade val="80000"/>
            <a:hueOff val="353725"/>
            <a:satOff val="21988"/>
            <a:lumOff val="23569"/>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L" sz="1600" b="1" kern="1200" smtClean="0"/>
            <a:t>EPP</a:t>
          </a:r>
          <a:endParaRPr lang="es-CL" sz="1600" b="1" kern="1200" dirty="0"/>
        </a:p>
      </dsp:txBody>
      <dsp:txXfrm rot="-10800000">
        <a:off x="2206878" y="3872253"/>
        <a:ext cx="1103439" cy="968063"/>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17-04-2024</a:t>
            </a:fld>
            <a:endParaRPr lang="es-CL" dirty="0"/>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dirty="0"/>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17-04-2024</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6.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18.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7.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9.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20.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3.sv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3" Type="http://schemas.openxmlformats.org/officeDocument/2006/relationships/tags" Target="../tags/tag66.xml"/><Relationship Id="rId21" Type="http://schemas.openxmlformats.org/officeDocument/2006/relationships/image" Target="../media/image1.emf"/><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oleObject" Target="../embeddings/oleObject64.bin"/><Relationship Id="rId1" Type="http://schemas.openxmlformats.org/officeDocument/2006/relationships/vmlDrawing" Target="../drawings/vmlDrawing64.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slideMaster" Target="../slideMasters/slideMaster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57216183"/>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a:t>
            </a:r>
            <a:r>
              <a:rPr lang="es-ES" dirty="0" smtClean="0"/>
              <a:t>Regular</a:t>
            </a:r>
            <a:br>
              <a:rPr lang="es-ES" dirty="0" smtClean="0"/>
            </a:br>
            <a:r>
              <a:rPr lang="es-ES" dirty="0" smtClean="0"/>
              <a:t>60 </a:t>
            </a:r>
            <a:r>
              <a:rPr lang="es-ES" dirty="0"/>
              <a:t>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26168157"/>
      </p:ext>
    </p:extLst>
  </p:cSld>
  <p:clrMapOvr>
    <a:masterClrMapping/>
  </p:clrMapOvr>
  <p:transition spd="med"/>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0"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8" name="Gráfico 2">
            <a:extLst>
              <a:ext uri="{FF2B5EF4-FFF2-40B4-BE49-F238E27FC236}">
                <a16:creationId xmlns="" xmlns:a16="http://schemas.microsoft.com/office/drawing/2014/main"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4250895981"/>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4"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12"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033572476"/>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erde Portadilla capitulo c titulo y logo">
    <p:bg>
      <p:bgPr>
        <a:solidFill>
          <a:srgbClr val="13C0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3999662"/>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a16="http://schemas.microsoft.com/office/drawing/2014/main" xmlns="" id="{A5BC562B-8075-3C4C-A449-F53BCE586690}"/>
              </a:ext>
            </a:extLst>
          </p:cNvPr>
          <p:cNvSpPr>
            <a:spLocks noGrp="1"/>
          </p:cNvSpPr>
          <p:nvPr>
            <p:ph type="sldNum" sz="quarter" idx="12"/>
          </p:nvPr>
        </p:nvSpPr>
        <p:spPr>
          <a:xfrm>
            <a:off x="9970979" y="6463752"/>
            <a:ext cx="1844164" cy="365125"/>
          </a:xfrm>
          <a:prstGeom prst="rect">
            <a:avLst/>
          </a:prstGeo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446318363"/>
      </p:ext>
    </p:extLst>
  </p:cSld>
  <p:clrMapOvr>
    <a:masterClrMapping/>
  </p:clrMapOvr>
  <p:transition spd="med"/>
  <p:extLst>
    <p:ext uri="{DCECCB84-F9BA-43D5-87BE-67443E8EF086}">
      <p15:sldGuideLst xmlns:p15="http://schemas.microsoft.com/office/powerpoint/2012/main">
        <p15:guide id="4294967295" orient="horz" pos="2160">
          <p15:clr>
            <a:srgbClr val="FBAE40"/>
          </p15:clr>
        </p15:guide>
        <p15:guide id="4294967295"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67146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97"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smtClean="0"/>
              <a:t>Texto</a:t>
            </a:r>
            <a:endParaRPr lang="es-CL" dirty="0"/>
          </a:p>
        </p:txBody>
      </p:sp>
      <p:sp>
        <p:nvSpPr>
          <p:cNvPr id="1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t>
            </a:r>
            <a:r>
              <a:rPr lang="es-ES" dirty="0" smtClean="0"/>
              <a:t>Arial </a:t>
            </a:r>
            <a:r>
              <a:rPr lang="es-ES" dirty="0"/>
              <a:t>16</a:t>
            </a:r>
            <a:endParaRPr lang="es-CL" dirty="0"/>
          </a:p>
        </p:txBody>
      </p:sp>
    </p:spTree>
    <p:extLst>
      <p:ext uri="{BB962C8B-B14F-4D97-AF65-F5344CB8AC3E}">
        <p14:creationId xmlns:p14="http://schemas.microsoft.com/office/powerpoint/2010/main" val="108177853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249936516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003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smtClean="0"/>
              <a:t>Texto</a:t>
            </a:r>
            <a:endParaRPr lang="es-CL" dirty="0"/>
          </a:p>
        </p:txBody>
      </p:sp>
      <p:sp>
        <p:nvSpPr>
          <p:cNvPr id="3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474456405"/>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5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a16="http://schemas.microsoft.com/office/drawing/2014/main" xmlns=""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a16="http://schemas.microsoft.com/office/drawing/2014/main" xmlns=""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a16="http://schemas.microsoft.com/office/drawing/2014/main" xmlns=""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p>
        </p:txBody>
      </p:sp>
      <p:sp>
        <p:nvSpPr>
          <p:cNvPr id="4" name="Marcador de número de diapositiva 3"/>
          <p:cNvSpPr>
            <a:spLocks noGrp="1"/>
          </p:cNvSpPr>
          <p:nvPr>
            <p:ph type="sldNum" sz="quarter" idx="19"/>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36046628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9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a16="http://schemas.microsoft.com/office/drawing/2014/main" xmlns=""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a16="http://schemas.microsoft.com/office/drawing/2014/main" xmlns=""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a16="http://schemas.microsoft.com/office/drawing/2014/main" xmlns=""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a16="http://schemas.microsoft.com/office/drawing/2014/main" xmlns=""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a16="http://schemas.microsoft.com/office/drawing/2014/main" xmlns=""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a16="http://schemas.microsoft.com/office/drawing/2014/main" xmlns=""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a16="http://schemas.microsoft.com/office/drawing/2014/main" xmlns=""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a16="http://schemas.microsoft.com/office/drawing/2014/main" xmlns=""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4513384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3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a:t>
            </a:r>
            <a:r>
              <a:rPr lang="es-ES" dirty="0" smtClean="0"/>
              <a:t>N</a:t>
            </a:r>
            <a:br>
              <a:rPr lang="es-ES" dirty="0" smtClean="0"/>
            </a:br>
            <a:endParaRPr lang="es-ES" dirty="0" smtClean="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smtClean="0"/>
              <a:t>Texto</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smtClean="0"/>
              <a:t>Texto</a:t>
            </a:r>
            <a:endParaRPr lang="es-ES" dirty="0"/>
          </a:p>
        </p:txBody>
      </p:sp>
      <p:sp>
        <p:nvSpPr>
          <p:cNvPr id="37" name="Marcador de texto 34">
            <a:extLst>
              <a:ext uri="{FF2B5EF4-FFF2-40B4-BE49-F238E27FC236}">
                <a16:creationId xmlns:a16="http://schemas.microsoft.com/office/drawing/2014/main" xmlns=""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a16="http://schemas.microsoft.com/office/drawing/2014/main" xmlns=""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a16="http://schemas.microsoft.com/office/drawing/2014/main" xmlns=""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a16="http://schemas.microsoft.com/office/drawing/2014/main" xmlns=""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a16="http://schemas.microsoft.com/office/drawing/2014/main" xmlns=""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a16="http://schemas.microsoft.com/office/drawing/2014/main" xmlns=""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a:t>
            </a:r>
            <a:r>
              <a:rPr lang="es-ES" dirty="0" smtClean="0"/>
              <a:t>N</a:t>
            </a:r>
          </a:p>
        </p:txBody>
      </p:sp>
      <p:sp>
        <p:nvSpPr>
          <p:cNvPr id="50" name="Marcador de texto 31">
            <a:extLst>
              <a:ext uri="{FF2B5EF4-FFF2-40B4-BE49-F238E27FC236}">
                <a16:creationId xmlns:a16="http://schemas.microsoft.com/office/drawing/2014/main" xmlns=""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a:t>
            </a:r>
            <a:r>
              <a:rPr lang="es-ES" dirty="0" smtClean="0"/>
              <a:t>N</a:t>
            </a:r>
          </a:p>
        </p:txBody>
      </p:sp>
      <p:sp>
        <p:nvSpPr>
          <p:cNvPr id="52" name="Marcador de texto 31">
            <a:extLst>
              <a:ext uri="{FF2B5EF4-FFF2-40B4-BE49-F238E27FC236}">
                <a16:creationId xmlns:a16="http://schemas.microsoft.com/office/drawing/2014/main" xmlns=""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a:t>
            </a:r>
            <a:r>
              <a:rPr lang="es-ES" dirty="0" smtClean="0"/>
              <a:t>N</a:t>
            </a:r>
          </a:p>
        </p:txBody>
      </p:sp>
      <p:sp>
        <p:nvSpPr>
          <p:cNvPr id="54" name="Marcador de texto 31">
            <a:extLst>
              <a:ext uri="{FF2B5EF4-FFF2-40B4-BE49-F238E27FC236}">
                <a16:creationId xmlns:a16="http://schemas.microsoft.com/office/drawing/2014/main" xmlns=""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a:t>
            </a:r>
            <a:r>
              <a:rPr lang="es-ES" dirty="0" smtClean="0"/>
              <a:t>N</a:t>
            </a:r>
          </a:p>
        </p:txBody>
      </p:sp>
      <p:sp>
        <p:nvSpPr>
          <p:cNvPr id="56" name="Marcador de texto 31">
            <a:extLst>
              <a:ext uri="{FF2B5EF4-FFF2-40B4-BE49-F238E27FC236}">
                <a16:creationId xmlns:a16="http://schemas.microsoft.com/office/drawing/2014/main" xmlns=""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289341287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 xmlns:a16="http://schemas.microsoft.com/office/drawing/2014/main"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052561605"/>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4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8180506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26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68703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28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7302034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31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92823964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33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31622197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36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6542651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947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sp>
        <p:nvSpPr>
          <p:cNvPr id="30"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959988010"/>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8238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0"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144970528"/>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8340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289011193"/>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6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122549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165899300"/>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0931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79"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13342793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8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9424264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27"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0654912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extLst>
              <p:ext uri="{D42A27DB-BD31-4B8C-83A1-F6EECF244321}">
                <p14:modId xmlns:p14="http://schemas.microsoft.com/office/powerpoint/2010/main" val="2949047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00"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0B42D332-2844-E942-96BC-37A626E3034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61" name="Marcador de texto 7">
            <a:extLst>
              <a:ext uri="{FF2B5EF4-FFF2-40B4-BE49-F238E27FC236}">
                <a16:creationId xmlns:a16="http://schemas.microsoft.com/office/drawing/2014/main" xmlns=""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a16="http://schemas.microsoft.com/office/drawing/2014/main" xmlns=""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xmlns=""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a16="http://schemas.microsoft.com/office/drawing/2014/main" xmlns=""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xmlns=""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a16="http://schemas.microsoft.com/office/drawing/2014/main" xmlns=""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xmlns=""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a16="http://schemas.microsoft.com/office/drawing/2014/main" xmlns=""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a16="http://schemas.microsoft.com/office/drawing/2014/main" xmlns=""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a16="http://schemas.microsoft.com/office/drawing/2014/main" xmlns=""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a16="http://schemas.microsoft.com/office/drawing/2014/main" xmlns=""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a16="http://schemas.microsoft.com/office/drawing/2014/main" xmlns=""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p>
        </p:txBody>
      </p:sp>
      <p:sp>
        <p:nvSpPr>
          <p:cNvPr id="8" name="Marcador de número de diapositiva 7"/>
          <p:cNvSpPr>
            <a:spLocks noGrp="1"/>
          </p:cNvSpPr>
          <p:nvPr>
            <p:ph type="sldNum" sz="quarter" idx="70"/>
          </p:nvPr>
        </p:nvSpPr>
        <p:spPr/>
        <p:txBody>
          <a:bodyPr/>
          <a:lstStyle/>
          <a:p>
            <a:fld id="{4B90B3AC-360D-4C0F-BB2D-EFC963FB8AB1}" type="slidenum">
              <a:rPr lang="es-CL" smtClean="0"/>
              <a:pPr/>
              <a:t>‹Nº›</a:t>
            </a:fld>
            <a:endParaRPr lang="es-CL" dirty="0"/>
          </a:p>
        </p:txBody>
      </p:sp>
      <p:pic>
        <p:nvPicPr>
          <p:cNvPr id="26"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70426572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2" pos="280">
          <p15:clr>
            <a:srgbClr val="FBAE40"/>
          </p15:clr>
        </p15:guide>
        <p15:guide id="3" orient="horz" pos="1094">
          <p15:clr>
            <a:srgbClr val="FBAE40"/>
          </p15:clr>
        </p15:guide>
        <p15:guide id="4" orient="horz" pos="2546">
          <p15:clr>
            <a:srgbClr val="FBAE40"/>
          </p15:clr>
        </p15:guide>
        <p15:guide id="5" orient="horz" pos="3816">
          <p15:clr>
            <a:srgbClr val="FBAE40"/>
          </p15:clr>
        </p15:guide>
        <p15:guide id="6" pos="15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solidFill>
                <a:schemeClr val="tx1"/>
              </a:solidFill>
            </a:endParaRPr>
          </a:p>
        </p:txBody>
      </p:sp>
      <p:graphicFrame>
        <p:nvGraphicFramePr>
          <p:cNvPr id="3" name="Objeto 2" hidden="1">
            <a:extLst>
              <a:ext uri="{FF2B5EF4-FFF2-40B4-BE49-F238E27FC236}">
                <a16:creationId xmlns:a16="http://schemas.microsoft.com/office/drawing/2014/main" xmlns="" id="{F257A930-1B12-7B4A-B402-734BCB48BA01}"/>
              </a:ext>
            </a:extLst>
          </p:cNvPr>
          <p:cNvGraphicFramePr>
            <a:graphicFrameLocks noChangeAspect="1"/>
          </p:cNvGraphicFramePr>
          <p:nvPr userDrawn="1">
            <p:custDataLst>
              <p:tags r:id="rId2"/>
            </p:custDataLst>
            <p:extLst>
              <p:ext uri="{D42A27DB-BD31-4B8C-83A1-F6EECF244321}">
                <p14:modId xmlns:p14="http://schemas.microsoft.com/office/powerpoint/2010/main" val="306593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76"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xmlns="" id="{F257A930-1B12-7B4A-B402-734BCB48BA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a16="http://schemas.microsoft.com/office/drawing/2014/main" xmlns=""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a16="http://schemas.microsoft.com/office/drawing/2014/main" xmlns=""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a16="http://schemas.microsoft.com/office/drawing/2014/main" xmlns=""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Nº›</a:t>
            </a:fld>
            <a:endParaRPr lang="es-CL" dirty="0"/>
          </a:p>
        </p:txBody>
      </p:sp>
      <p:pic>
        <p:nvPicPr>
          <p:cNvPr id="1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86467675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08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 xmlns:a16="http://schemas.microsoft.com/office/drawing/2014/main"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 xmlns:a16="http://schemas.microsoft.com/office/drawing/2014/main"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 xmlns:a16="http://schemas.microsoft.com/office/drawing/2014/main"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 xmlns:a16="http://schemas.microsoft.com/office/drawing/2014/main"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p>
        </p:txBody>
      </p:sp>
      <p:sp>
        <p:nvSpPr>
          <p:cNvPr id="3" name="Marcador de número de diapositiva 2"/>
          <p:cNvSpPr>
            <a:spLocks noGrp="1"/>
          </p:cNvSpPr>
          <p:nvPr>
            <p:ph type="sldNum" sz="quarter" idx="5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5978346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ext uri="{D42A27DB-BD31-4B8C-83A1-F6EECF244321}">
                <p14:modId xmlns:p14="http://schemas.microsoft.com/office/powerpoint/2010/main" val="2752406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52"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8663741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A6585990-3747-324F-0060-32ED55A50EEB}"/>
              </a:ext>
            </a:extLst>
          </p:cNvPr>
          <p:cNvGraphicFramePr>
            <a:graphicFrameLocks noChangeAspect="1"/>
          </p:cNvGraphicFramePr>
          <p:nvPr userDrawn="1">
            <p:custDataLst>
              <p:tags r:id="rId2"/>
            </p:custDataLst>
            <p:extLst>
              <p:ext uri="{D42A27DB-BD31-4B8C-83A1-F6EECF244321}">
                <p14:modId xmlns:p14="http://schemas.microsoft.com/office/powerpoint/2010/main" val="383065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2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a16="http://schemas.microsoft.com/office/drawing/2014/main" xmlns=""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a16="http://schemas.microsoft.com/office/drawing/2014/main" xmlns=""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a16="http://schemas.microsoft.com/office/drawing/2014/main" xmlns=""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a16="http://schemas.microsoft.com/office/drawing/2014/main" xmlns=""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a16="http://schemas.microsoft.com/office/drawing/2014/main" xmlns=""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a16="http://schemas.microsoft.com/office/drawing/2014/main" xmlns=""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xmlns=""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a16="http://schemas.microsoft.com/office/drawing/2014/main" xmlns=""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a16="http://schemas.microsoft.com/office/drawing/2014/main" xmlns=""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xmlns=""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a16="http://schemas.microsoft.com/office/drawing/2014/main" xmlns=""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a16="http://schemas.microsoft.com/office/drawing/2014/main" xmlns=""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xmlns=""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a16="http://schemas.microsoft.com/office/drawing/2014/main" xmlns=""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a16="http://schemas.microsoft.com/office/drawing/2014/main" xmlns=""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xmlns=""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a16="http://schemas.microsoft.com/office/drawing/2014/main" xmlns=""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p>
        </p:txBody>
      </p:sp>
      <p:sp>
        <p:nvSpPr>
          <p:cNvPr id="4" name="Marcador de número de diapositiva 3"/>
          <p:cNvSpPr>
            <a:spLocks noGrp="1"/>
          </p:cNvSpPr>
          <p:nvPr>
            <p:ph type="sldNum" sz="quarter" idx="2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97879265"/>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8">
          <p15:clr>
            <a:srgbClr val="FBAE40"/>
          </p15:clr>
        </p15:guide>
        <p15:guide id="5" pos="2071">
          <p15:clr>
            <a:srgbClr val="FBAE40"/>
          </p15:clr>
        </p15:guide>
        <p15:guide id="6" pos="565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B94836DB-A449-5E5A-4EA3-690CF44CFB75}"/>
              </a:ext>
            </a:extLst>
          </p:cNvPr>
          <p:cNvGraphicFramePr>
            <a:graphicFrameLocks noChangeAspect="1"/>
          </p:cNvGraphicFramePr>
          <p:nvPr userDrawn="1">
            <p:custDataLst>
              <p:tags r:id="rId2"/>
            </p:custDataLst>
            <p:extLst>
              <p:ext uri="{D42A27DB-BD31-4B8C-83A1-F6EECF244321}">
                <p14:modId xmlns:p14="http://schemas.microsoft.com/office/powerpoint/2010/main" val="7947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a16="http://schemas.microsoft.com/office/drawing/2014/main" xmlns=""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a16="http://schemas.microsoft.com/office/drawing/2014/main" xmlns=""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a16="http://schemas.microsoft.com/office/drawing/2014/main" xmlns=""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a16="http://schemas.microsoft.com/office/drawing/2014/main" xmlns=""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xmlns=""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a16="http://schemas.microsoft.com/office/drawing/2014/main" xmlns=""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a16="http://schemas.microsoft.com/office/drawing/2014/main" xmlns=""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a16="http://schemas.microsoft.com/office/drawing/2014/main" xmlns=""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a16="http://schemas.microsoft.com/office/drawing/2014/main" xmlns=""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a16="http://schemas.microsoft.com/office/drawing/2014/main" xmlns=""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a16="http://schemas.microsoft.com/office/drawing/2014/main" xmlns=""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xmlns=""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a16="http://schemas.microsoft.com/office/drawing/2014/main" xmlns=""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a16="http://schemas.microsoft.com/office/drawing/2014/main" xmlns=""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a16="http://schemas.microsoft.com/office/drawing/2014/main" xmlns=""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a16="http://schemas.microsoft.com/office/drawing/2014/main" xmlns=""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a16="http://schemas.microsoft.com/office/drawing/2014/main" xmlns=""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p>
        </p:txBody>
      </p:sp>
      <p:sp>
        <p:nvSpPr>
          <p:cNvPr id="6" name="Marcador de número de diapositiva 5"/>
          <p:cNvSpPr>
            <a:spLocks noGrp="1"/>
          </p:cNvSpPr>
          <p:nvPr>
            <p:ph type="sldNum" sz="quarter" idx="3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93330271"/>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7">
          <p15:clr>
            <a:srgbClr val="FBAE40"/>
          </p15:clr>
        </p15:guide>
        <p15:guide id="5" pos="2071">
          <p15:clr>
            <a:srgbClr val="FBAE40"/>
          </p15:clr>
        </p15:guide>
        <p15:guide id="6" pos="5655">
          <p15:clr>
            <a:srgbClr val="FBAE40"/>
          </p15:clr>
        </p15:guide>
        <p15:guide id="7" orient="horz" pos="66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7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a16="http://schemas.microsoft.com/office/drawing/2014/main" xmlns=""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a16="http://schemas.microsoft.com/office/drawing/2014/main" xmlns=""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a16="http://schemas.microsoft.com/office/drawing/2014/main" xmlns=""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a16="http://schemas.microsoft.com/office/drawing/2014/main" xmlns=""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a16="http://schemas.microsoft.com/office/drawing/2014/main" xmlns=""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a16="http://schemas.microsoft.com/office/drawing/2014/main" xmlns=""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a16="http://schemas.microsoft.com/office/drawing/2014/main" xmlns=""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a16="http://schemas.microsoft.com/office/drawing/2014/main" xmlns=""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6164293"/>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1100028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 xmlns:a16="http://schemas.microsoft.com/office/drawing/2014/main"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432953749"/>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21"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a16="http://schemas.microsoft.com/office/drawing/2014/main" xmlns=""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a16="http://schemas.microsoft.com/office/drawing/2014/main" xmlns=""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a16="http://schemas.microsoft.com/office/drawing/2014/main" xmlns=""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a16="http://schemas.microsoft.com/office/drawing/2014/main" xmlns=""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a16="http://schemas.microsoft.com/office/drawing/2014/main" xmlns=""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a16="http://schemas.microsoft.com/office/drawing/2014/main" xmlns=""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a16="http://schemas.microsoft.com/office/drawing/2014/main" xmlns=""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a16="http://schemas.microsoft.com/office/drawing/2014/main" xmlns=""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smtClean="0"/>
              <a:t>Texto</a:t>
            </a:r>
            <a:endParaRPr lang="es-ES" dirty="0"/>
          </a:p>
        </p:txBody>
      </p:sp>
      <p:sp>
        <p:nvSpPr>
          <p:cNvPr id="73" name="Marcador de texto 49">
            <a:extLst>
              <a:ext uri="{FF2B5EF4-FFF2-40B4-BE49-F238E27FC236}">
                <a16:creationId xmlns:a16="http://schemas.microsoft.com/office/drawing/2014/main" xmlns=""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a16="http://schemas.microsoft.com/office/drawing/2014/main" xmlns=""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a16="http://schemas.microsoft.com/office/drawing/2014/main" xmlns=""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a16="http://schemas.microsoft.com/office/drawing/2014/main" xmlns=""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a16="http://schemas.microsoft.com/office/drawing/2014/main" xmlns=""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p>
        </p:txBody>
      </p:sp>
      <p:sp>
        <p:nvSpPr>
          <p:cNvPr id="7" name="Marcador de número de diapositiva 6"/>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6892358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4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a16="http://schemas.microsoft.com/office/drawing/2014/main" xmlns=""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a16="http://schemas.microsoft.com/office/drawing/2014/main" xmlns=""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a16="http://schemas.microsoft.com/office/drawing/2014/main" xmlns=""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a16="http://schemas.microsoft.com/office/drawing/2014/main" xmlns=""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a16="http://schemas.microsoft.com/office/drawing/2014/main" xmlns=""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a16="http://schemas.microsoft.com/office/drawing/2014/main" xmlns=""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p>
        </p:txBody>
      </p:sp>
      <p:sp>
        <p:nvSpPr>
          <p:cNvPr id="4" name="Marcador de número de diapositiva 3"/>
          <p:cNvSpPr>
            <a:spLocks noGrp="1"/>
          </p:cNvSpPr>
          <p:nvPr>
            <p:ph type="sldNum" sz="quarter" idx="4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1234694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68"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a16="http://schemas.microsoft.com/office/drawing/2014/main" xmlns=""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a16="http://schemas.microsoft.com/office/drawing/2014/main" xmlns=""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a16="http://schemas.microsoft.com/office/drawing/2014/main" xmlns=""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a16="http://schemas.microsoft.com/office/drawing/2014/main" xmlns=""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a16="http://schemas.microsoft.com/office/drawing/2014/main" xmlns=""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a16="http://schemas.microsoft.com/office/drawing/2014/main" xmlns=""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a16="http://schemas.microsoft.com/office/drawing/2014/main" xmlns=""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a16="http://schemas.microsoft.com/office/drawing/2014/main" xmlns=""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p>
        </p:txBody>
      </p:sp>
      <p:sp>
        <p:nvSpPr>
          <p:cNvPr id="3" name="Marcador de número de diapositiva 2"/>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2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5990150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2"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a16="http://schemas.microsoft.com/office/drawing/2014/main" xmlns=""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a16="http://schemas.microsoft.com/office/drawing/2014/main" xmlns=""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a16="http://schemas.microsoft.com/office/drawing/2014/main" xmlns=""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a16="http://schemas.microsoft.com/office/drawing/2014/main" xmlns=""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a16="http://schemas.microsoft.com/office/drawing/2014/main" xmlns=""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a16="http://schemas.microsoft.com/office/drawing/2014/main" xmlns=""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a16="http://schemas.microsoft.com/office/drawing/2014/main" xmlns=""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a16="http://schemas.microsoft.com/office/drawing/2014/main" xmlns=""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a16="http://schemas.microsoft.com/office/drawing/2014/main" xmlns="" id="{D9C29C8D-FCDA-A370-6DCD-03A8D289E8B6}"/>
              </a:ext>
            </a:extLst>
          </p:cNvPr>
          <p:cNvPicPr>
            <a:picLocks noChangeAspect="1"/>
          </p:cNvPicPr>
          <p:nvPr userDrawn="1"/>
        </p:nvPicPr>
        <p:blipFill rotWithShape="1">
          <a:blip r:embed="rId6"/>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a16="http://schemas.microsoft.com/office/drawing/2014/main" xmlns=""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a16="http://schemas.microsoft.com/office/drawing/2014/main" xmlns=""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a16="http://schemas.microsoft.com/office/drawing/2014/main" xmlns=""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a16="http://schemas.microsoft.com/office/drawing/2014/main" xmlns=""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a16="http://schemas.microsoft.com/office/drawing/2014/main" xmlns=""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
        <p:nvSpPr>
          <p:cNvPr id="31"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a16="http://schemas.microsoft.com/office/drawing/2014/main" xmlns=""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smtClean="0"/>
              <a:t>Texto</a:t>
            </a:r>
            <a:endParaRPr lang="es-ES" dirty="0"/>
          </a:p>
        </p:txBody>
      </p:sp>
    </p:spTree>
    <p:extLst>
      <p:ext uri="{BB962C8B-B14F-4D97-AF65-F5344CB8AC3E}">
        <p14:creationId xmlns:p14="http://schemas.microsoft.com/office/powerpoint/2010/main" val="99858181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16"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a16="http://schemas.microsoft.com/office/drawing/2014/main" xmlns=""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a16="http://schemas.microsoft.com/office/drawing/2014/main" xmlns=""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a16="http://schemas.microsoft.com/office/drawing/2014/main" xmlns=""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a16="http://schemas.microsoft.com/office/drawing/2014/main" xmlns=""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a16="http://schemas.microsoft.com/office/drawing/2014/main" xmlns=""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a16="http://schemas.microsoft.com/office/drawing/2014/main" xmlns=""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a16="http://schemas.microsoft.com/office/drawing/2014/main" xmlns=""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a16="http://schemas.microsoft.com/office/drawing/2014/main" xmlns=""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a16="http://schemas.microsoft.com/office/drawing/2014/main" xmlns=""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smtClean="0"/>
              <a:t>Texto</a:t>
            </a:r>
            <a:endParaRPr lang="es-ES" dirty="0"/>
          </a:p>
        </p:txBody>
      </p:sp>
    </p:spTree>
    <p:extLst>
      <p:ext uri="{BB962C8B-B14F-4D97-AF65-F5344CB8AC3E}">
        <p14:creationId xmlns:p14="http://schemas.microsoft.com/office/powerpoint/2010/main" val="360955059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4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a16="http://schemas.microsoft.com/office/drawing/2014/main" xmlns=""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a16="http://schemas.microsoft.com/office/drawing/2014/main" xmlns=""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a16="http://schemas.microsoft.com/office/drawing/2014/main" xmlns=""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p>
        </p:txBody>
      </p:sp>
      <p:sp>
        <p:nvSpPr>
          <p:cNvPr id="4" name="Marcador de número de diapositiva 3"/>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1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a16="http://schemas.microsoft.com/office/drawing/2014/main" xmlns=""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67998796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64"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a16="http://schemas.microsoft.com/office/drawing/2014/main" xmlns=""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a16="http://schemas.microsoft.com/office/drawing/2014/main" xmlns=""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a16="http://schemas.microsoft.com/office/drawing/2014/main" xmlns=""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a16="http://schemas.microsoft.com/office/drawing/2014/main" xmlns=""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a16="http://schemas.microsoft.com/office/drawing/2014/main" xmlns=""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p>
        </p:txBody>
      </p:sp>
      <p:sp>
        <p:nvSpPr>
          <p:cNvPr id="4" name="Marcador de número de diapositiva 3"/>
          <p:cNvSpPr>
            <a:spLocks noGrp="1"/>
          </p:cNvSpPr>
          <p:nvPr>
            <p:ph type="sldNum" sz="quarter" idx="36"/>
          </p:nvPr>
        </p:nvSpPr>
        <p:spPr/>
        <p:txBody>
          <a:bodyPr/>
          <a:lstStyle/>
          <a:p>
            <a:fld id="{4B90B3AC-360D-4C0F-BB2D-EFC963FB8AB1}" type="slidenum">
              <a:rPr lang="es-CL" smtClean="0"/>
              <a:pPr/>
              <a:t>‹Nº›</a:t>
            </a:fld>
            <a:endParaRPr lang="es-CL" dirty="0"/>
          </a:p>
        </p:txBody>
      </p:sp>
      <p:sp>
        <p:nvSpPr>
          <p:cNvPr id="2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64306570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8"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a16="http://schemas.microsoft.com/office/drawing/2014/main" xmlns=""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a16="http://schemas.microsoft.com/office/drawing/2014/main" xmlns=""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a16="http://schemas.microsoft.com/office/drawing/2014/main" xmlns=""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a16="http://schemas.microsoft.com/office/drawing/2014/main" xmlns=""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a16="http://schemas.microsoft.com/office/drawing/2014/main" xmlns=""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a16="http://schemas.microsoft.com/office/drawing/2014/main" xmlns=""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a16="http://schemas.microsoft.com/office/drawing/2014/main" xmlns=""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a16="http://schemas.microsoft.com/office/drawing/2014/main" xmlns=""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a16="http://schemas.microsoft.com/office/drawing/2014/main" xmlns=""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a16="http://schemas.microsoft.com/office/drawing/2014/main" xmlns=""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88843799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a16="http://schemas.microsoft.com/office/drawing/2014/main" xmlns=""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a16="http://schemas.microsoft.com/office/drawing/2014/main" xmlns=""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a16="http://schemas.microsoft.com/office/drawing/2014/main" xmlns=""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a16="http://schemas.microsoft.com/office/drawing/2014/main" xmlns=""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a16="http://schemas.microsoft.com/office/drawing/2014/main" xmlns=""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a16="http://schemas.microsoft.com/office/drawing/2014/main" xmlns=""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a16="http://schemas.microsoft.com/office/drawing/2014/main" xmlns=""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a16="http://schemas.microsoft.com/office/drawing/2014/main" xmlns=""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a16="http://schemas.microsoft.com/office/drawing/2014/main" xmlns=""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a16="http://schemas.microsoft.com/office/drawing/2014/main" xmlns=""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a16="http://schemas.microsoft.com/office/drawing/2014/main" xmlns=""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64879661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37"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ea typeface="Helvetica Neue Medium"/>
              <a:cs typeface="Helvetica Neue Medium"/>
              <a:sym typeface="Helvetica Neue Medium"/>
            </a:endParaRPr>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a16="http://schemas.microsoft.com/office/drawing/2014/main" xmlns=""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a16="http://schemas.microsoft.com/office/drawing/2014/main" xmlns=""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a16="http://schemas.microsoft.com/office/drawing/2014/main" xmlns=""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a16="http://schemas.microsoft.com/office/drawing/2014/main" xmlns=""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a16="http://schemas.microsoft.com/office/drawing/2014/main" xmlns=""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smtClean="0"/>
              <a:t>ícono</a:t>
            </a:r>
            <a:endParaRPr lang="es-CL" dirty="0"/>
          </a:p>
        </p:txBody>
      </p:sp>
      <p:sp>
        <p:nvSpPr>
          <p:cNvPr id="88" name="Marcador de texto 49">
            <a:extLst>
              <a:ext uri="{FF2B5EF4-FFF2-40B4-BE49-F238E27FC236}">
                <a16:creationId xmlns:a16="http://schemas.microsoft.com/office/drawing/2014/main" xmlns=""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a16="http://schemas.microsoft.com/office/drawing/2014/main" xmlns=""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smtClean="0"/>
              <a:t>ícono</a:t>
            </a:r>
            <a:endParaRPr lang="es-CL" dirty="0"/>
          </a:p>
        </p:txBody>
      </p:sp>
      <p:sp>
        <p:nvSpPr>
          <p:cNvPr id="90" name="Marcador de texto 49">
            <a:extLst>
              <a:ext uri="{FF2B5EF4-FFF2-40B4-BE49-F238E27FC236}">
                <a16:creationId xmlns:a16="http://schemas.microsoft.com/office/drawing/2014/main" xmlns=""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a16="http://schemas.microsoft.com/office/drawing/2014/main" xmlns=""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smtClean="0"/>
              <a:t>ícono</a:t>
            </a:r>
            <a:endParaRPr lang="es-CL" dirty="0"/>
          </a:p>
        </p:txBody>
      </p:sp>
      <p:sp>
        <p:nvSpPr>
          <p:cNvPr id="92" name="Marcador de texto 49">
            <a:extLst>
              <a:ext uri="{FF2B5EF4-FFF2-40B4-BE49-F238E27FC236}">
                <a16:creationId xmlns:a16="http://schemas.microsoft.com/office/drawing/2014/main" xmlns=""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a16="http://schemas.microsoft.com/office/drawing/2014/main" xmlns=""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smtClean="0"/>
              <a:t>ícono</a:t>
            </a:r>
            <a:endParaRPr lang="es-CL" dirty="0"/>
          </a:p>
        </p:txBody>
      </p:sp>
      <p:sp>
        <p:nvSpPr>
          <p:cNvPr id="94" name="Marcador de texto 49">
            <a:extLst>
              <a:ext uri="{FF2B5EF4-FFF2-40B4-BE49-F238E27FC236}">
                <a16:creationId xmlns:a16="http://schemas.microsoft.com/office/drawing/2014/main" xmlns=""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a16="http://schemas.microsoft.com/office/drawing/2014/main" xmlns=""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smtClean="0"/>
              <a:t>ícono</a:t>
            </a:r>
            <a:endParaRPr lang="es-CL" dirty="0"/>
          </a:p>
        </p:txBody>
      </p:sp>
      <p:sp>
        <p:nvSpPr>
          <p:cNvPr id="96" name="Marcador de texto 49">
            <a:extLst>
              <a:ext uri="{FF2B5EF4-FFF2-40B4-BE49-F238E27FC236}">
                <a16:creationId xmlns:a16="http://schemas.microsoft.com/office/drawing/2014/main" xmlns=""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a16="http://schemas.microsoft.com/office/drawing/2014/main" xmlns=""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smtClean="0"/>
              <a:t>ícono</a:t>
            </a:r>
            <a:endParaRPr lang="es-CL" dirty="0"/>
          </a:p>
        </p:txBody>
      </p:sp>
      <p:sp>
        <p:nvSpPr>
          <p:cNvPr id="99" name="Marcador de texto 49">
            <a:extLst>
              <a:ext uri="{FF2B5EF4-FFF2-40B4-BE49-F238E27FC236}">
                <a16:creationId xmlns:a16="http://schemas.microsoft.com/office/drawing/2014/main" xmlns=""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a16="http://schemas.microsoft.com/office/drawing/2014/main" xmlns=""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3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5046329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8"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r>
              <a:rPr lang="es-ES" dirty="0" smtClean="0"/>
              <a:t/>
            </a:r>
            <a:br>
              <a:rPr lang="es-ES" dirty="0" smtClean="0"/>
            </a:br>
            <a:r>
              <a:rPr lang="es-ES" dirty="0" smtClean="0"/>
              <a:t>máximo </a:t>
            </a:r>
            <a:r>
              <a:rPr lang="es-ES" dirty="0"/>
              <a:t>3 líneas Arial Regular - 30 puntos</a:t>
            </a:r>
            <a:endParaRPr lang="es-CL" dirty="0"/>
          </a:p>
        </p:txBody>
      </p:sp>
      <p:pic>
        <p:nvPicPr>
          <p:cNvPr id="9" name="Picture 6">
            <a:extLst>
              <a:ext uri="{FF2B5EF4-FFF2-40B4-BE49-F238E27FC236}">
                <a16:creationId xmlns="" xmlns:a16="http://schemas.microsoft.com/office/drawing/2014/main"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611949877"/>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60"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a16="http://schemas.microsoft.com/office/drawing/2014/main" xmlns=""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a16="http://schemas.microsoft.com/office/drawing/2014/main" xmlns=""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a16="http://schemas.microsoft.com/office/drawing/2014/main" xmlns=""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a16="http://schemas.microsoft.com/office/drawing/2014/main" xmlns=""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a16="http://schemas.microsoft.com/office/drawing/2014/main" xmlns=""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a16="http://schemas.microsoft.com/office/drawing/2014/main" xmlns=""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a16="http://schemas.microsoft.com/office/drawing/2014/main" xmlns=""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a16="http://schemas.microsoft.com/office/drawing/2014/main" xmlns=""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a16="http://schemas.microsoft.com/office/drawing/2014/main" xmlns=""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p>
        </p:txBody>
      </p:sp>
      <p:sp>
        <p:nvSpPr>
          <p:cNvPr id="4" name="Marcador de número de diapositiva 3"/>
          <p:cNvSpPr>
            <a:spLocks noGrp="1"/>
          </p:cNvSpPr>
          <p:nvPr>
            <p:ph type="sldNum" sz="quarter" idx="3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57105948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8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a16="http://schemas.microsoft.com/office/drawing/2014/main" xmlns=""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a16="http://schemas.microsoft.com/office/drawing/2014/main" xmlns=""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a16="http://schemas.microsoft.com/office/drawing/2014/main" xmlns=""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a16="http://schemas.microsoft.com/office/drawing/2014/main" xmlns=""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a16="http://schemas.microsoft.com/office/drawing/2014/main" xmlns=""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a16="http://schemas.microsoft.com/office/drawing/2014/main" xmlns=""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a16="http://schemas.microsoft.com/office/drawing/2014/main" xmlns=""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a16="http://schemas.microsoft.com/office/drawing/2014/main" xmlns=""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a16="http://schemas.microsoft.com/office/drawing/2014/main" xmlns=""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a16="http://schemas.microsoft.com/office/drawing/2014/main" xmlns=""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a16="http://schemas.microsoft.com/office/drawing/2014/main" xmlns=""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a16="http://schemas.microsoft.com/office/drawing/2014/main" xmlns=""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a16="http://schemas.microsoft.com/office/drawing/2014/main" xmlns=""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a16="http://schemas.microsoft.com/office/drawing/2014/main" xmlns=""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a16="http://schemas.microsoft.com/office/drawing/2014/main" xmlns=""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a16="http://schemas.microsoft.com/office/drawing/2014/main" xmlns=""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a16="http://schemas.microsoft.com/office/drawing/2014/main" xmlns=""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a16="http://schemas.microsoft.com/office/drawing/2014/main" xmlns=""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smtClean="0"/>
              <a:t>ícono</a:t>
            </a:r>
            <a:endParaRPr lang="es-CL" dirty="0"/>
          </a:p>
        </p:txBody>
      </p:sp>
      <p:sp>
        <p:nvSpPr>
          <p:cNvPr id="78" name="Marcador de posición de imagen 86">
            <a:extLst>
              <a:ext uri="{FF2B5EF4-FFF2-40B4-BE49-F238E27FC236}">
                <a16:creationId xmlns:a16="http://schemas.microsoft.com/office/drawing/2014/main" xmlns=""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smtClean="0"/>
              <a:t>ícono</a:t>
            </a:r>
            <a:endParaRPr lang="es-CL" dirty="0"/>
          </a:p>
        </p:txBody>
      </p:sp>
      <p:sp>
        <p:nvSpPr>
          <p:cNvPr id="79" name="Marcador de posición de imagen 86">
            <a:extLst>
              <a:ext uri="{FF2B5EF4-FFF2-40B4-BE49-F238E27FC236}">
                <a16:creationId xmlns:a16="http://schemas.microsoft.com/office/drawing/2014/main" xmlns=""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smtClean="0"/>
              <a:t>ícono</a:t>
            </a:r>
            <a:endParaRPr lang="es-CL" dirty="0"/>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5207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8"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a16="http://schemas.microsoft.com/office/drawing/2014/main" xmlns=""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a16="http://schemas.microsoft.com/office/drawing/2014/main" xmlns=""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a16="http://schemas.microsoft.com/office/drawing/2014/main" xmlns=""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a16="http://schemas.microsoft.com/office/drawing/2014/main" xmlns=""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a16="http://schemas.microsoft.com/office/drawing/2014/main" xmlns=""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a16="http://schemas.microsoft.com/office/drawing/2014/main" xmlns=""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a16="http://schemas.microsoft.com/office/drawing/2014/main" xmlns=""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a16="http://schemas.microsoft.com/office/drawing/2014/main" xmlns=""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a16="http://schemas.microsoft.com/office/drawing/2014/main" xmlns=""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a16="http://schemas.microsoft.com/office/drawing/2014/main" xmlns=""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a16="http://schemas.microsoft.com/office/drawing/2014/main" xmlns=""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a16="http://schemas.microsoft.com/office/drawing/2014/main" xmlns=""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a16="http://schemas.microsoft.com/office/drawing/2014/main" xmlns=""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a16="http://schemas.microsoft.com/office/drawing/2014/main" xmlns=""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a16="http://schemas.microsoft.com/office/drawing/2014/main" xmlns=""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a16="http://schemas.microsoft.com/office/drawing/2014/main" xmlns=""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a16="http://schemas.microsoft.com/office/drawing/2014/main" xmlns=""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a16="http://schemas.microsoft.com/office/drawing/2014/main" xmlns=""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a16="http://schemas.microsoft.com/office/drawing/2014/main" xmlns=""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a16="http://schemas.microsoft.com/office/drawing/2014/main" xmlns=""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p>
        </p:txBody>
      </p:sp>
      <p:sp>
        <p:nvSpPr>
          <p:cNvPr id="4" name="Marcador de número de diapositiva 3"/>
          <p:cNvSpPr>
            <a:spLocks noGrp="1"/>
          </p:cNvSpPr>
          <p:nvPr>
            <p:ph type="sldNum" sz="quarter" idx="5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30727425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32"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a16="http://schemas.microsoft.com/office/drawing/2014/main" xmlns=""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xmlns=""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a16="http://schemas.microsoft.com/office/drawing/2014/main" xmlns=""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a16="http://schemas.microsoft.com/office/drawing/2014/main" xmlns=""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a16="http://schemas.microsoft.com/office/drawing/2014/main" xmlns=""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a16="http://schemas.microsoft.com/office/drawing/2014/main" xmlns=""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a16="http://schemas.microsoft.com/office/drawing/2014/main" xmlns=""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a16="http://schemas.microsoft.com/office/drawing/2014/main" xmlns=""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a16="http://schemas.microsoft.com/office/drawing/2014/main" xmlns=""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a16="http://schemas.microsoft.com/office/drawing/2014/main" xmlns=""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a16="http://schemas.microsoft.com/office/drawing/2014/main" xmlns=""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a16="http://schemas.microsoft.com/office/drawing/2014/main" xmlns=""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a16="http://schemas.microsoft.com/office/drawing/2014/main" xmlns=""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a16="http://schemas.microsoft.com/office/drawing/2014/main" xmlns=""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a16="http://schemas.microsoft.com/office/drawing/2014/main" xmlns=""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a16="http://schemas.microsoft.com/office/drawing/2014/main" xmlns=""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a16="http://schemas.microsoft.com/office/drawing/2014/main" xmlns=""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a16="http://schemas.microsoft.com/office/drawing/2014/main" xmlns=""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a16="http://schemas.microsoft.com/office/drawing/2014/main" xmlns=""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a16="http://schemas.microsoft.com/office/drawing/2014/main" xmlns=""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a16="http://schemas.microsoft.com/office/drawing/2014/main" xmlns=""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a16="http://schemas.microsoft.com/office/drawing/2014/main" xmlns=""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a16="http://schemas.microsoft.com/office/drawing/2014/main" xmlns=""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a16="http://schemas.microsoft.com/office/drawing/2014/main" xmlns=""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a16="http://schemas.microsoft.com/office/drawing/2014/main" xmlns=""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a16="http://schemas.microsoft.com/office/drawing/2014/main" xmlns=""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a16="http://schemas.microsoft.com/office/drawing/2014/main" xmlns=""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a16="http://schemas.microsoft.com/office/drawing/2014/main" xmlns=""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a16="http://schemas.microsoft.com/office/drawing/2014/main" xmlns=""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a16="http://schemas.microsoft.com/office/drawing/2014/main" xmlns=""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1655931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56"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a16="http://schemas.microsoft.com/office/drawing/2014/main" xmlns=""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a16="http://schemas.microsoft.com/office/drawing/2014/main" xmlns=""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a16="http://schemas.microsoft.com/office/drawing/2014/main" xmlns=""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a16="http://schemas.microsoft.com/office/drawing/2014/main" xmlns=""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a16="http://schemas.microsoft.com/office/drawing/2014/main" xmlns=""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a16="http://schemas.microsoft.com/office/drawing/2014/main" xmlns=""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a16="http://schemas.microsoft.com/office/drawing/2014/main" xmlns=""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a16="http://schemas.microsoft.com/office/drawing/2014/main" xmlns=""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a16="http://schemas.microsoft.com/office/drawing/2014/main" xmlns=""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a16="http://schemas.microsoft.com/office/drawing/2014/main" xmlns=""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a16="http://schemas.microsoft.com/office/drawing/2014/main" xmlns=""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a16="http://schemas.microsoft.com/office/drawing/2014/main" xmlns=""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a16="http://schemas.microsoft.com/office/drawing/2014/main" xmlns=""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a16="http://schemas.microsoft.com/office/drawing/2014/main" xmlns=""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a16="http://schemas.microsoft.com/office/drawing/2014/main" xmlns=""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a16="http://schemas.microsoft.com/office/drawing/2014/main" xmlns=""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a16="http://schemas.microsoft.com/office/drawing/2014/main" xmlns=""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a16="http://schemas.microsoft.com/office/drawing/2014/main" xmlns=""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a16="http://schemas.microsoft.com/office/drawing/2014/main" xmlns=""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a16="http://schemas.microsoft.com/office/drawing/2014/main" xmlns=""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a16="http://schemas.microsoft.com/office/drawing/2014/main" xmlns=""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p>
        </p:txBody>
      </p:sp>
      <p:sp>
        <p:nvSpPr>
          <p:cNvPr id="5" name="Marcador de número de diapositiva 4"/>
          <p:cNvSpPr>
            <a:spLocks noGrp="1"/>
          </p:cNvSpPr>
          <p:nvPr>
            <p:ph type="sldNum" sz="quarter" idx="4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43136089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232791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80"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p:nvPr>
        </p:nvSpPr>
        <p:spPr/>
        <p:txBody>
          <a:bodyPr vert="horz"/>
          <a:lstStyle>
            <a:lvl1pPr>
              <a:defRPr/>
            </a:lvl1pPr>
          </a:lstStyle>
          <a:p>
            <a:r>
              <a:rPr lang="es-ES" dirty="0" smtClean="0"/>
              <a:t>Haga clic para modificar el estilo de título del patrón</a:t>
            </a:r>
            <a:endParaRPr lang="es-CL" dirty="0"/>
          </a:p>
        </p:txBody>
      </p:sp>
      <p:sp>
        <p:nvSpPr>
          <p:cNvPr id="31" name="Marcador de texto 49">
            <a:extLst>
              <a:ext uri="{FF2B5EF4-FFF2-40B4-BE49-F238E27FC236}">
                <a16:creationId xmlns:a16="http://schemas.microsoft.com/office/drawing/2014/main" xmlns=""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a16="http://schemas.microsoft.com/office/drawing/2014/main" xmlns=""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a16="http://schemas.microsoft.com/office/drawing/2014/main" xmlns=""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a16="http://schemas.microsoft.com/office/drawing/2014/main" xmlns=""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a16="http://schemas.microsoft.com/office/drawing/2014/main" xmlns=""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a16="http://schemas.microsoft.com/office/drawing/2014/main" xmlns=""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a16="http://schemas.microsoft.com/office/drawing/2014/main" xmlns=""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a16="http://schemas.microsoft.com/office/drawing/2014/main" xmlns=""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a16="http://schemas.microsoft.com/office/drawing/2014/main" xmlns=""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a16="http://schemas.microsoft.com/office/drawing/2014/main" xmlns=""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a16="http://schemas.microsoft.com/office/drawing/2014/main" xmlns=""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a16="http://schemas.microsoft.com/office/drawing/2014/main" xmlns=""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a16="http://schemas.microsoft.com/office/drawing/2014/main" xmlns=""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a16="http://schemas.microsoft.com/office/drawing/2014/main" xmlns=""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a16="http://schemas.microsoft.com/office/drawing/2014/main" xmlns=""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a16="http://schemas.microsoft.com/office/drawing/2014/main" xmlns=""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a16="http://schemas.microsoft.com/office/drawing/2014/main" xmlns=""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a16="http://schemas.microsoft.com/office/drawing/2014/main" xmlns=""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a16="http://schemas.microsoft.com/office/drawing/2014/main" xmlns=""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a16="http://schemas.microsoft.com/office/drawing/2014/main" xmlns=""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a16="http://schemas.microsoft.com/office/drawing/2014/main" xmlns=""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a16="http://schemas.microsoft.com/office/drawing/2014/main" xmlns=""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a16="http://schemas.microsoft.com/office/drawing/2014/main" xmlns=""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a16="http://schemas.microsoft.com/office/drawing/2014/main" xmlns=""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a16="http://schemas.microsoft.com/office/drawing/2014/main" xmlns=""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p>
        </p:txBody>
      </p:sp>
      <p:sp>
        <p:nvSpPr>
          <p:cNvPr id="4" name="Marcador de número de diapositiva 3"/>
          <p:cNvSpPr>
            <a:spLocks noGrp="1"/>
          </p:cNvSpPr>
          <p:nvPr>
            <p:ph type="sldNum" sz="quarter" idx="6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5557588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0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a16="http://schemas.microsoft.com/office/drawing/2014/main" xmlns=""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a16="http://schemas.microsoft.com/office/drawing/2014/main" xmlns=""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chemeClr val="tx2"/>
                </a:solidFill>
                <a:latin typeface="Arial" panose="020B0604020202020204" pitchFamily="34" charset="0"/>
                <a:cs typeface="Arial" panose="020B0604020202020204" pitchFamily="34" charset="0"/>
              </a:endParaRPr>
            </a:p>
          </p:txBody>
        </p:sp>
        <p:grpSp>
          <p:nvGrpSpPr>
            <p:cNvPr id="32" name="Grupo 31">
              <a:extLst>
                <a:ext uri="{FF2B5EF4-FFF2-40B4-BE49-F238E27FC236}">
                  <a16:creationId xmlns:a16="http://schemas.microsoft.com/office/drawing/2014/main" xmlns=""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a16="http://schemas.microsoft.com/office/drawing/2014/main" xmlns=""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sp>
            <p:nvSpPr>
              <p:cNvPr id="34" name="65 Circular">
                <a:extLst>
                  <a:ext uri="{FF2B5EF4-FFF2-40B4-BE49-F238E27FC236}">
                    <a16:creationId xmlns:a16="http://schemas.microsoft.com/office/drawing/2014/main" xmlns=""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grpSp>
      </p:grpSp>
      <p:sp>
        <p:nvSpPr>
          <p:cNvPr id="41" name="Oval 10">
            <a:extLst>
              <a:ext uri="{FF2B5EF4-FFF2-40B4-BE49-F238E27FC236}">
                <a16:creationId xmlns:a16="http://schemas.microsoft.com/office/drawing/2014/main" xmlns=""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a16="http://schemas.microsoft.com/office/drawing/2014/main" xmlns=""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a16="http://schemas.microsoft.com/office/drawing/2014/main" xmlns=""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7"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12415183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a16="http://schemas.microsoft.com/office/drawing/2014/main" xmlns=""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3" name="73 Circular">
            <a:extLst>
              <a:ext uri="{FF2B5EF4-FFF2-40B4-BE49-F238E27FC236}">
                <a16:creationId xmlns:a16="http://schemas.microsoft.com/office/drawing/2014/main" xmlns=""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14" name="64 Circular">
            <a:extLst>
              <a:ext uri="{FF2B5EF4-FFF2-40B4-BE49-F238E27FC236}">
                <a16:creationId xmlns:a16="http://schemas.microsoft.com/office/drawing/2014/main" xmlns=""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6" name="68 Circular">
            <a:extLst>
              <a:ext uri="{FF2B5EF4-FFF2-40B4-BE49-F238E27FC236}">
                <a16:creationId xmlns:a16="http://schemas.microsoft.com/office/drawing/2014/main" xmlns=""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7" name="65 Circular">
            <a:extLst>
              <a:ext uri="{FF2B5EF4-FFF2-40B4-BE49-F238E27FC236}">
                <a16:creationId xmlns:a16="http://schemas.microsoft.com/office/drawing/2014/main" xmlns=""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391714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a16="http://schemas.microsoft.com/office/drawing/2014/main" xmlns=""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a16="http://schemas.microsoft.com/office/drawing/2014/main" xmlns=""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pPr/>
              <a:t>‹Nº›</a:t>
            </a:fld>
            <a:endParaRPr lang="es-CL" dirty="0"/>
          </a:p>
        </p:txBody>
      </p:sp>
      <p:sp>
        <p:nvSpPr>
          <p:cNvPr id="52"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a16="http://schemas.microsoft.com/office/drawing/2014/main" xmlns=""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a16="http://schemas.microsoft.com/office/drawing/2014/main" xmlns=""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57341777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a16="http://schemas.microsoft.com/office/drawing/2014/main" xmlns=""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5" name="68 Circular">
            <a:extLst>
              <a:ext uri="{FF2B5EF4-FFF2-40B4-BE49-F238E27FC236}">
                <a16:creationId xmlns:a16="http://schemas.microsoft.com/office/drawing/2014/main" xmlns=""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6" name="73 Circular">
            <a:extLst>
              <a:ext uri="{FF2B5EF4-FFF2-40B4-BE49-F238E27FC236}">
                <a16:creationId xmlns:a16="http://schemas.microsoft.com/office/drawing/2014/main" xmlns=""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7" name="64 Circular">
            <a:extLst>
              <a:ext uri="{FF2B5EF4-FFF2-40B4-BE49-F238E27FC236}">
                <a16:creationId xmlns:a16="http://schemas.microsoft.com/office/drawing/2014/main" xmlns=""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8" name="68 Circular">
            <a:extLst>
              <a:ext uri="{FF2B5EF4-FFF2-40B4-BE49-F238E27FC236}">
                <a16:creationId xmlns:a16="http://schemas.microsoft.com/office/drawing/2014/main" xmlns=""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9" name="65 Circular">
            <a:extLst>
              <a:ext uri="{FF2B5EF4-FFF2-40B4-BE49-F238E27FC236}">
                <a16:creationId xmlns:a16="http://schemas.microsoft.com/office/drawing/2014/main" xmlns=""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165218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a16="http://schemas.microsoft.com/office/drawing/2014/main" xmlns=""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a16="http://schemas.microsoft.com/office/drawing/2014/main" xmlns=""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a16="http://schemas.microsoft.com/office/drawing/2014/main" xmlns=""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a16="http://schemas.microsoft.com/office/drawing/2014/main" xmlns=""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a16="http://schemas.microsoft.com/office/drawing/2014/main" xmlns=""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a16="http://schemas.microsoft.com/office/drawing/2014/main" xmlns=""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a16="http://schemas.microsoft.com/office/drawing/2014/main" xmlns=""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a16="http://schemas.microsoft.com/office/drawing/2014/main" xmlns=""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a16="http://schemas.microsoft.com/office/drawing/2014/main" xmlns=""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9242991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7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a16="http://schemas.microsoft.com/office/drawing/2014/main" xmlns=""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a16="http://schemas.microsoft.com/office/drawing/2014/main" xmlns=""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a16="http://schemas.microsoft.com/office/drawing/2014/main" xmlns=""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a16="http://schemas.microsoft.com/office/drawing/2014/main" xmlns=""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a16="http://schemas.microsoft.com/office/drawing/2014/main" xmlns=""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a16="http://schemas.microsoft.com/office/drawing/2014/main" xmlns=""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a16="http://schemas.microsoft.com/office/drawing/2014/main" xmlns=""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p>
        </p:txBody>
      </p:sp>
      <p:sp>
        <p:nvSpPr>
          <p:cNvPr id="4" name="Marcador de número de diapositiva 3"/>
          <p:cNvSpPr>
            <a:spLocks noGrp="1"/>
          </p:cNvSpPr>
          <p:nvPr>
            <p:ph type="sldNum" sz="quarter" idx="5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7251382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0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 xmlns:a16="http://schemas.microsoft.com/office/drawing/2014/main"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r>
              <a:rPr lang="es-ES" dirty="0" smtClean="0"/>
              <a:t/>
            </a:r>
            <a:br>
              <a:rPr lang="es-ES" dirty="0" smtClean="0"/>
            </a:br>
            <a:r>
              <a:rPr lang="es-ES" dirty="0" smtClean="0"/>
              <a:t>Máximo </a:t>
            </a:r>
            <a:r>
              <a:rPr lang="es-ES" dirty="0"/>
              <a:t>3 líneas Arial - 36 puntos</a:t>
            </a:r>
            <a:endParaRPr lang="es-CL" dirty="0"/>
          </a:p>
        </p:txBody>
      </p:sp>
      <p:sp>
        <p:nvSpPr>
          <p:cNvPr id="8" name="Marcador de texto 7">
            <a:extLst>
              <a:ext uri="{FF2B5EF4-FFF2-40B4-BE49-F238E27FC236}">
                <a16:creationId xmlns="" xmlns:a16="http://schemas.microsoft.com/office/drawing/2014/main"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 xmlns:a16="http://schemas.microsoft.com/office/drawing/2014/main"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49941005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0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a16="http://schemas.microsoft.com/office/drawing/2014/main" xmlns=""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a16="http://schemas.microsoft.com/office/drawing/2014/main" xmlns=""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a16="http://schemas.microsoft.com/office/drawing/2014/main" xmlns=""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a16="http://schemas.microsoft.com/office/drawing/2014/main" xmlns=""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p>
        </p:txBody>
      </p:sp>
      <p:sp>
        <p:nvSpPr>
          <p:cNvPr id="4" name="Marcador de número de diapositiva 3"/>
          <p:cNvSpPr>
            <a:spLocks noGrp="1"/>
          </p:cNvSpPr>
          <p:nvPr>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0132893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2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a16="http://schemas.microsoft.com/office/drawing/2014/main" xmlns=""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a16="http://schemas.microsoft.com/office/drawing/2014/main" xmlns=""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a16="http://schemas.microsoft.com/office/drawing/2014/main" xmlns=""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a16="http://schemas.microsoft.com/office/drawing/2014/main" xmlns=""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a16="http://schemas.microsoft.com/office/drawing/2014/main" xmlns=""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a16="http://schemas.microsoft.com/office/drawing/2014/main" xmlns=""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a16="http://schemas.microsoft.com/office/drawing/2014/main" xmlns=""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a16="http://schemas.microsoft.com/office/drawing/2014/main" xmlns=""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a16="http://schemas.microsoft.com/office/drawing/2014/main" xmlns=""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a16="http://schemas.microsoft.com/office/drawing/2014/main" xmlns=""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a16="http://schemas.microsoft.com/office/drawing/2014/main" xmlns=""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a16="http://schemas.microsoft.com/office/drawing/2014/main" xmlns=""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a16="http://schemas.microsoft.com/office/drawing/2014/main" xmlns=""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a16="http://schemas.microsoft.com/office/drawing/2014/main" xmlns=""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a16="http://schemas.microsoft.com/office/drawing/2014/main" xmlns=""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a16="http://schemas.microsoft.com/office/drawing/2014/main" xmlns=""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a16="http://schemas.microsoft.com/office/drawing/2014/main" xmlns=""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a16="http://schemas.microsoft.com/office/drawing/2014/main" xmlns=""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a16="http://schemas.microsoft.com/office/drawing/2014/main" xmlns=""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a16="http://schemas.microsoft.com/office/drawing/2014/main" xmlns=""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7677125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a16="http://schemas.microsoft.com/office/drawing/2014/main" xmlns=""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a16="http://schemas.microsoft.com/office/drawing/2014/main" xmlns=""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a16="http://schemas.microsoft.com/office/drawing/2014/main" xmlns=""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a16="http://schemas.microsoft.com/office/drawing/2014/main" xmlns=""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a16="http://schemas.microsoft.com/office/drawing/2014/main" xmlns=""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a16="http://schemas.microsoft.com/office/drawing/2014/main" xmlns=""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a16="http://schemas.microsoft.com/office/drawing/2014/main" xmlns=""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p>
        </p:txBody>
      </p:sp>
      <p:sp>
        <p:nvSpPr>
          <p:cNvPr id="4" name="Marcador de número de diapositiva 3"/>
          <p:cNvSpPr>
            <a:spLocks noGrp="1"/>
          </p:cNvSpPr>
          <p:nvPr>
            <p:ph type="sldNum" sz="quarter" idx="43"/>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7955008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2506521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7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 xmlns:a16="http://schemas.microsoft.com/office/drawing/2014/main" id="{DE8C5804-0487-8079-B88A-7DFFFFF6F815}"/>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a16="http://schemas.microsoft.com/office/drawing/2014/main" xmlns=""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a16="http://schemas.microsoft.com/office/drawing/2014/main" xmlns=""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a16="http://schemas.microsoft.com/office/drawing/2014/main" xmlns=""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a16="http://schemas.microsoft.com/office/drawing/2014/main" xmlns=""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a16="http://schemas.microsoft.com/office/drawing/2014/main" xmlns=""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a16="http://schemas.microsoft.com/office/drawing/2014/main" xmlns=""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a16="http://schemas.microsoft.com/office/drawing/2014/main" xmlns=""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a16="http://schemas.microsoft.com/office/drawing/2014/main" xmlns=""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a16="http://schemas.microsoft.com/office/drawing/2014/main" xmlns=""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a16="http://schemas.microsoft.com/office/drawing/2014/main" xmlns=""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799845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a16="http://schemas.microsoft.com/office/drawing/2014/main" xmlns=""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a16="http://schemas.microsoft.com/office/drawing/2014/main" xmlns=""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a16="http://schemas.microsoft.com/office/drawing/2014/main" xmlns=""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smtClean="0"/>
              <a:t>ícono</a:t>
            </a:r>
            <a:endParaRPr lang="es-CL" dirty="0"/>
          </a:p>
        </p:txBody>
      </p:sp>
      <p:sp>
        <p:nvSpPr>
          <p:cNvPr id="20" name="Marcador de texto 49">
            <a:extLst>
              <a:ext uri="{FF2B5EF4-FFF2-40B4-BE49-F238E27FC236}">
                <a16:creationId xmlns:a16="http://schemas.microsoft.com/office/drawing/2014/main" xmlns=""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a16="http://schemas.microsoft.com/office/drawing/2014/main" xmlns=""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a16="http://schemas.microsoft.com/office/drawing/2014/main" xmlns=""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smtClean="0"/>
              <a:t>ícono</a:t>
            </a:r>
            <a:endParaRPr lang="es-CL" dirty="0"/>
          </a:p>
        </p:txBody>
      </p:sp>
      <p:sp>
        <p:nvSpPr>
          <p:cNvPr id="23" name="Marcador de texto 49">
            <a:extLst>
              <a:ext uri="{FF2B5EF4-FFF2-40B4-BE49-F238E27FC236}">
                <a16:creationId xmlns:a16="http://schemas.microsoft.com/office/drawing/2014/main" xmlns=""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a16="http://schemas.microsoft.com/office/drawing/2014/main" xmlns=""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a16="http://schemas.microsoft.com/office/drawing/2014/main" xmlns=""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smtClean="0"/>
              <a:t>ícono</a:t>
            </a:r>
            <a:endParaRPr lang="es-CL" dirty="0"/>
          </a:p>
        </p:txBody>
      </p:sp>
      <p:sp>
        <p:nvSpPr>
          <p:cNvPr id="26" name="Marcador de texto 49">
            <a:extLst>
              <a:ext uri="{FF2B5EF4-FFF2-40B4-BE49-F238E27FC236}">
                <a16:creationId xmlns:a16="http://schemas.microsoft.com/office/drawing/2014/main" xmlns=""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a16="http://schemas.microsoft.com/office/drawing/2014/main" xmlns=""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a16="http://schemas.microsoft.com/office/drawing/2014/main" xmlns=""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smtClean="0"/>
              <a:t>ícono</a:t>
            </a:r>
            <a:endParaRPr lang="es-CL" dirty="0"/>
          </a:p>
        </p:txBody>
      </p:sp>
      <p:sp>
        <p:nvSpPr>
          <p:cNvPr id="3" name="Marcador de pie de página 2"/>
          <p:cNvSpPr>
            <a:spLocks noGrp="1"/>
          </p:cNvSpPr>
          <p:nvPr>
            <p:ph type="ftr" sz="quarter" idx="60"/>
          </p:nvPr>
        </p:nvSpPr>
        <p:spPr/>
        <p:txBody>
          <a:bodyPr/>
          <a:lstStyle/>
          <a:p>
            <a:endParaRPr lang="es-CL" dirty="0"/>
          </a:p>
        </p:txBody>
      </p:sp>
      <p:sp>
        <p:nvSpPr>
          <p:cNvPr id="4" name="Marcador de número de diapositiva 3"/>
          <p:cNvSpPr>
            <a:spLocks noGrp="1"/>
          </p:cNvSpPr>
          <p:nvPr>
            <p:ph type="sldNum" sz="quarter" idx="6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2428610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4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a16="http://schemas.microsoft.com/office/drawing/2014/main" xmlns=""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a16="http://schemas.microsoft.com/office/drawing/2014/main" xmlns=""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a16="http://schemas.microsoft.com/office/drawing/2014/main" xmlns=""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a16="http://schemas.microsoft.com/office/drawing/2014/main" xmlns=""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a16="http://schemas.microsoft.com/office/drawing/2014/main" xmlns=""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a16="http://schemas.microsoft.com/office/drawing/2014/main" xmlns=""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a16="http://schemas.microsoft.com/office/drawing/2014/main" xmlns=""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p>
        </p:txBody>
      </p:sp>
      <p:sp>
        <p:nvSpPr>
          <p:cNvPr id="4" name="Marcador de número de diapositiva 3"/>
          <p:cNvSpPr>
            <a:spLocks noGrp="1"/>
          </p:cNvSpPr>
          <p:nvPr>
            <p:ph type="sldNum" sz="quarter" idx="2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7053329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28740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2" name="Diapositiva de think-cell" r:id="rId20" imgW="395" imgH="396" progId="TCLayout.ActiveDocument.1">
                  <p:embed/>
                </p:oleObj>
              </mc:Choice>
              <mc:Fallback>
                <p:oleObj name="Diapositiva de think-cell" r:id="rId20"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p>
        </p:txBody>
      </p:sp>
      <p:sp>
        <p:nvSpPr>
          <p:cNvPr id="4" name="Marcador de número de diapositiva 3"/>
          <p:cNvSpPr>
            <a:spLocks noGrp="1"/>
          </p:cNvSpPr>
          <p:nvPr>
            <p:ph type="sldNum" sz="quarter" idx="29"/>
          </p:nvPr>
        </p:nvSpPr>
        <p:spPr/>
        <p:txBody>
          <a:bodyPr/>
          <a:lstStyle/>
          <a:p>
            <a:fld id="{4B90B3AC-360D-4C0F-BB2D-EFC963FB8AB1}" type="slidenum">
              <a:rPr lang="es-CL" smtClean="0"/>
              <a:pPr/>
              <a:t>‹Nº›</a:t>
            </a:fld>
            <a:endParaRPr lang="es-CL" dirty="0"/>
          </a:p>
        </p:txBody>
      </p:sp>
      <p:sp>
        <p:nvSpPr>
          <p:cNvPr id="57" name="Rectángulo 56">
            <a:extLst>
              <a:ext uri="{FF2B5EF4-FFF2-40B4-BE49-F238E27FC236}">
                <a16:creationId xmlns:a16="http://schemas.microsoft.com/office/drawing/2014/main" xmlns=""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a:ex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smtClean="0">
                <a:solidFill>
                  <a:schemeClr val="tx1"/>
                </a:solidFill>
                <a:sym typeface="Helvetica Neue Medium"/>
              </a:rPr>
              <a:t>Texto</a:t>
            </a:r>
            <a:endParaRPr lang="es-CL" sz="1400" b="1" dirty="0">
              <a:solidFill>
                <a:schemeClr val="tx1"/>
              </a:solidFill>
              <a:sym typeface="Helvetica Neue Medium"/>
            </a:endParaRPr>
          </a:p>
        </p:txBody>
      </p:sp>
      <p:sp>
        <p:nvSpPr>
          <p:cNvPr id="58" name="Rectángulo 57">
            <a:extLst>
              <a:ext uri="{FF2B5EF4-FFF2-40B4-BE49-F238E27FC236}">
                <a16:creationId xmlns:a16="http://schemas.microsoft.com/office/drawing/2014/main" xmlns=""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a:ex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smtClean="0">
                <a:solidFill>
                  <a:schemeClr val="tx1"/>
                </a:solidFill>
                <a:sym typeface="Helvetica Neue Medium"/>
              </a:rPr>
              <a:t>Texto</a:t>
            </a:r>
            <a:endParaRPr lang="es-CL" sz="1400" b="1" dirty="0">
              <a:solidFill>
                <a:schemeClr val="tx1"/>
              </a:solidFill>
              <a:sym typeface="Helvetica Neue Medium"/>
            </a:endParaRPr>
          </a:p>
        </p:txBody>
      </p:sp>
      <p:cxnSp>
        <p:nvCxnSpPr>
          <p:cNvPr id="59" name="Conector recto 58">
            <a:extLst>
              <a:ext uri="{FF2B5EF4-FFF2-40B4-BE49-F238E27FC236}">
                <a16:creationId xmlns:a16="http://schemas.microsoft.com/office/drawing/2014/main" xmlns=""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a16="http://schemas.microsoft.com/office/drawing/2014/main" xmlns=""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xmlns=""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xmlns=""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a16="http://schemas.microsoft.com/office/drawing/2014/main" xmlns=""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xmlns=""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a16="http://schemas.microsoft.com/office/drawing/2014/main" xmlns=""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a16="http://schemas.microsoft.com/office/drawing/2014/main" xmlns=""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a16="http://schemas.microsoft.com/office/drawing/2014/main" xmlns=""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xmlns=""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a16="http://schemas.microsoft.com/office/drawing/2014/main" xmlns=""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smtClean="0"/>
              <a:t>Texto</a:t>
            </a:r>
            <a:endParaRPr lang="es-ES" dirty="0"/>
          </a:p>
        </p:txBody>
      </p:sp>
      <p:sp>
        <p:nvSpPr>
          <p:cNvPr id="77" name="Marcador de texto 6">
            <a:extLst>
              <a:ext uri="{FF2B5EF4-FFF2-40B4-BE49-F238E27FC236}">
                <a16:creationId xmlns:a16="http://schemas.microsoft.com/office/drawing/2014/main" xmlns=""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smtClean="0">
                <a:solidFill>
                  <a:schemeClr val="bg1"/>
                </a:solidFill>
                <a:sym typeface="+mn-lt"/>
              </a:rPr>
              <a:t>Texto</a:t>
            </a:r>
            <a:endParaRPr lang="es-CL" sz="1200" b="1" dirty="0">
              <a:solidFill>
                <a:schemeClr val="bg1"/>
              </a:solidFill>
              <a:sym typeface="+mn-lt"/>
            </a:endParaRPr>
          </a:p>
        </p:txBody>
      </p:sp>
      <p:sp>
        <p:nvSpPr>
          <p:cNvPr id="78" name="Marcador de texto 6">
            <a:extLst>
              <a:ext uri="{FF2B5EF4-FFF2-40B4-BE49-F238E27FC236}">
                <a16:creationId xmlns:a16="http://schemas.microsoft.com/office/drawing/2014/main" xmlns=""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smtClean="0">
                <a:solidFill>
                  <a:schemeClr val="bg1"/>
                </a:solidFill>
                <a:sym typeface="+mn-lt"/>
              </a:rPr>
              <a:t>Texto</a:t>
            </a:r>
            <a:endParaRPr lang="es-CL" sz="1200" b="1" dirty="0">
              <a:solidFill>
                <a:schemeClr val="bg1"/>
              </a:solidFill>
              <a:sym typeface="+mn-lt"/>
            </a:endParaRPr>
          </a:p>
        </p:txBody>
      </p:sp>
      <p:sp>
        <p:nvSpPr>
          <p:cNvPr id="79" name="Marcador de texto 6">
            <a:extLst>
              <a:ext uri="{FF2B5EF4-FFF2-40B4-BE49-F238E27FC236}">
                <a16:creationId xmlns:a16="http://schemas.microsoft.com/office/drawing/2014/main" xmlns=""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smtClean="0">
                <a:solidFill>
                  <a:schemeClr val="bg1"/>
                </a:solidFill>
                <a:sym typeface="+mn-lt"/>
              </a:rPr>
              <a:t>Texto</a:t>
            </a:r>
            <a:endParaRPr lang="es-CL" sz="1200" b="1" dirty="0">
              <a:solidFill>
                <a:schemeClr val="bg1"/>
              </a:solidFill>
              <a:sym typeface="+mn-lt"/>
            </a:endParaRPr>
          </a:p>
        </p:txBody>
      </p:sp>
      <p:sp>
        <p:nvSpPr>
          <p:cNvPr id="80" name="Marcador de texto 6">
            <a:extLst>
              <a:ext uri="{FF2B5EF4-FFF2-40B4-BE49-F238E27FC236}">
                <a16:creationId xmlns:a16="http://schemas.microsoft.com/office/drawing/2014/main" xmlns=""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smtClean="0">
                <a:solidFill>
                  <a:schemeClr val="bg1"/>
                </a:solidFill>
                <a:sym typeface="+mn-lt"/>
              </a:rPr>
              <a:t>Texto</a:t>
            </a:r>
            <a:endParaRPr lang="es-CL" sz="1200" b="1" dirty="0">
              <a:solidFill>
                <a:schemeClr val="bg1"/>
              </a:solidFill>
              <a:sym typeface="+mn-lt"/>
            </a:endParaRPr>
          </a:p>
        </p:txBody>
      </p:sp>
    </p:spTree>
    <p:extLst>
      <p:ext uri="{BB962C8B-B14F-4D97-AF65-F5344CB8AC3E}">
        <p14:creationId xmlns:p14="http://schemas.microsoft.com/office/powerpoint/2010/main" val="1207664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3270" cy="6858000"/>
          </a:xfrm>
          <a:custGeom>
            <a:avLst/>
            <a:gdLst/>
            <a:ahLst/>
            <a:cxnLst/>
            <a:rect l="l" t="t" r="r" b="b"/>
            <a:pathLst>
              <a:path w="12193270" h="6858000">
                <a:moveTo>
                  <a:pt x="12193206" y="0"/>
                </a:moveTo>
                <a:lnTo>
                  <a:pt x="0" y="0"/>
                </a:lnTo>
                <a:lnTo>
                  <a:pt x="0" y="6858000"/>
                </a:lnTo>
                <a:lnTo>
                  <a:pt x="12193206" y="6858000"/>
                </a:lnTo>
                <a:lnTo>
                  <a:pt x="12193206" y="0"/>
                </a:lnTo>
                <a:close/>
              </a:path>
            </a:pathLst>
          </a:custGeom>
          <a:solidFill>
            <a:srgbClr val="F1F2F2"/>
          </a:solidFill>
        </p:spPr>
        <p:txBody>
          <a:bodyPr wrap="square" lIns="0" tIns="0" rIns="0" bIns="0" rtlCol="0"/>
          <a:lstStyle/>
          <a:p>
            <a:endParaRPr/>
          </a:p>
        </p:txBody>
      </p:sp>
      <p:sp>
        <p:nvSpPr>
          <p:cNvPr id="2" name="Holder 2"/>
          <p:cNvSpPr>
            <a:spLocks noGrp="1"/>
          </p:cNvSpPr>
          <p:nvPr>
            <p:ph type="ctrTitle"/>
          </p:nvPr>
        </p:nvSpPr>
        <p:spPr>
          <a:xfrm>
            <a:off x="1181162" y="1850491"/>
            <a:ext cx="9836025" cy="185420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9752" y="3840480"/>
            <a:ext cx="8538845"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5" name="Holder 5"/>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7/2024</a:t>
            </a:fld>
            <a:endParaRPr lang="en-US"/>
          </a:p>
        </p:txBody>
      </p:sp>
      <p:sp>
        <p:nvSpPr>
          <p:cNvPr id="6" name="Holder 6"/>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2378405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68808" y="2154085"/>
            <a:ext cx="5524500" cy="3821429"/>
          </a:xfrm>
          <a:custGeom>
            <a:avLst/>
            <a:gdLst/>
            <a:ahLst/>
            <a:cxnLst/>
            <a:rect l="l" t="t" r="r" b="b"/>
            <a:pathLst>
              <a:path w="5524500" h="3821429">
                <a:moveTo>
                  <a:pt x="5524398" y="0"/>
                </a:moveTo>
                <a:lnTo>
                  <a:pt x="0" y="0"/>
                </a:lnTo>
                <a:lnTo>
                  <a:pt x="0" y="3820820"/>
                </a:lnTo>
                <a:lnTo>
                  <a:pt x="5524398" y="3820820"/>
                </a:lnTo>
                <a:lnTo>
                  <a:pt x="5524398" y="0"/>
                </a:lnTo>
                <a:close/>
              </a:path>
            </a:pathLst>
          </a:custGeom>
          <a:solidFill>
            <a:srgbClr val="F1F2F2"/>
          </a:solidFill>
        </p:spPr>
        <p:txBody>
          <a:bodyPr wrap="square" lIns="0" tIns="0" rIns="0" bIns="0" rtlCol="0"/>
          <a:lstStyle/>
          <a:p>
            <a:endParaRPr/>
          </a:p>
        </p:txBody>
      </p:sp>
      <p:pic>
        <p:nvPicPr>
          <p:cNvPr id="17" name="bg object 17"/>
          <p:cNvPicPr/>
          <p:nvPr/>
        </p:nvPicPr>
        <p:blipFill>
          <a:blip r:embed="rId2" cstate="print"/>
          <a:stretch>
            <a:fillRect/>
          </a:stretch>
        </p:blipFill>
        <p:spPr>
          <a:xfrm>
            <a:off x="6588201" y="2092261"/>
            <a:ext cx="2862922" cy="3762248"/>
          </a:xfrm>
          <a:prstGeom prst="rect">
            <a:avLst/>
          </a:prstGeom>
        </p:spPr>
      </p:pic>
      <p:sp>
        <p:nvSpPr>
          <p:cNvPr id="18" name="bg object 18"/>
          <p:cNvSpPr/>
          <p:nvPr/>
        </p:nvSpPr>
        <p:spPr>
          <a:xfrm>
            <a:off x="6588214" y="2092261"/>
            <a:ext cx="2863215" cy="3762375"/>
          </a:xfrm>
          <a:custGeom>
            <a:avLst/>
            <a:gdLst/>
            <a:ahLst/>
            <a:cxnLst/>
            <a:rect l="l" t="t" r="r" b="b"/>
            <a:pathLst>
              <a:path w="2863215" h="3762375">
                <a:moveTo>
                  <a:pt x="2862910" y="3762248"/>
                </a:moveTo>
                <a:lnTo>
                  <a:pt x="0" y="3762248"/>
                </a:lnTo>
                <a:lnTo>
                  <a:pt x="0" y="0"/>
                </a:lnTo>
                <a:lnTo>
                  <a:pt x="2862910" y="0"/>
                </a:lnTo>
                <a:lnTo>
                  <a:pt x="2862910" y="3762248"/>
                </a:lnTo>
                <a:close/>
              </a:path>
            </a:pathLst>
          </a:custGeom>
          <a:ln w="6350">
            <a:solidFill>
              <a:srgbClr val="D1D3D4"/>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400" b="1" i="0">
                <a:solidFill>
                  <a:srgbClr val="009189"/>
                </a:solidFill>
                <a:latin typeface="Tahoma"/>
                <a:cs typeface="Tahoma"/>
              </a:defRPr>
            </a:lvl1pPr>
          </a:lstStyle>
          <a:p>
            <a:endParaRPr/>
          </a:p>
        </p:txBody>
      </p:sp>
      <p:sp>
        <p:nvSpPr>
          <p:cNvPr id="3" name="Holder 3"/>
          <p:cNvSpPr>
            <a:spLocks noGrp="1"/>
          </p:cNvSpPr>
          <p:nvPr>
            <p:ph sz="half" idx="2"/>
          </p:nvPr>
        </p:nvSpPr>
        <p:spPr>
          <a:xfrm>
            <a:off x="609917" y="1577340"/>
            <a:ext cx="5306282"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150" y="1577340"/>
            <a:ext cx="5306282"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6" name="Holder 6"/>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7/2024</a:t>
            </a:fld>
            <a:endParaRPr lang="en-US"/>
          </a:p>
        </p:txBody>
      </p:sp>
      <p:sp>
        <p:nvSpPr>
          <p:cNvPr id="7" name="Holder 7"/>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33733264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3270" cy="6858000"/>
          </a:xfrm>
          <a:custGeom>
            <a:avLst/>
            <a:gdLst/>
            <a:ahLst/>
            <a:cxnLst/>
            <a:rect l="l" t="t" r="r" b="b"/>
            <a:pathLst>
              <a:path w="12193270" h="6858000">
                <a:moveTo>
                  <a:pt x="12193206" y="0"/>
                </a:moveTo>
                <a:lnTo>
                  <a:pt x="0" y="0"/>
                </a:lnTo>
                <a:lnTo>
                  <a:pt x="0" y="6858000"/>
                </a:lnTo>
                <a:lnTo>
                  <a:pt x="12193206" y="6858000"/>
                </a:lnTo>
                <a:lnTo>
                  <a:pt x="12193206" y="0"/>
                </a:lnTo>
                <a:close/>
              </a:path>
            </a:pathLst>
          </a:custGeom>
          <a:solidFill>
            <a:srgbClr val="009189"/>
          </a:solidFill>
        </p:spPr>
        <p:txBody>
          <a:bodyPr wrap="square" lIns="0" tIns="0" rIns="0" bIns="0" rtlCol="0"/>
          <a:lstStyle/>
          <a:p>
            <a:endParaRPr/>
          </a:p>
        </p:txBody>
      </p:sp>
      <p:sp>
        <p:nvSpPr>
          <p:cNvPr id="17" name="bg object 17"/>
          <p:cNvSpPr/>
          <p:nvPr/>
        </p:nvSpPr>
        <p:spPr>
          <a:xfrm>
            <a:off x="5502833" y="2850235"/>
            <a:ext cx="1188085" cy="1157605"/>
          </a:xfrm>
          <a:custGeom>
            <a:avLst/>
            <a:gdLst/>
            <a:ahLst/>
            <a:cxnLst/>
            <a:rect l="l" t="t" r="r" b="b"/>
            <a:pathLst>
              <a:path w="1188084" h="1157604">
                <a:moveTo>
                  <a:pt x="1187526" y="0"/>
                </a:moveTo>
                <a:lnTo>
                  <a:pt x="0" y="0"/>
                </a:lnTo>
                <a:lnTo>
                  <a:pt x="0" y="1157541"/>
                </a:lnTo>
                <a:lnTo>
                  <a:pt x="1187526" y="1157541"/>
                </a:lnTo>
                <a:lnTo>
                  <a:pt x="1187526" y="0"/>
                </a:lnTo>
                <a:close/>
              </a:path>
            </a:pathLst>
          </a:custGeom>
          <a:solidFill>
            <a:srgbClr val="076836"/>
          </a:solidFill>
        </p:spPr>
        <p:txBody>
          <a:bodyPr wrap="square" lIns="0" tIns="0" rIns="0" bIns="0" rtlCol="0"/>
          <a:lstStyle/>
          <a:p>
            <a:endParaRPr/>
          </a:p>
        </p:txBody>
      </p:sp>
      <p:sp>
        <p:nvSpPr>
          <p:cNvPr id="18" name="bg object 18"/>
          <p:cNvSpPr/>
          <p:nvPr/>
        </p:nvSpPr>
        <p:spPr>
          <a:xfrm>
            <a:off x="5502833" y="2850235"/>
            <a:ext cx="1188085" cy="1157605"/>
          </a:xfrm>
          <a:custGeom>
            <a:avLst/>
            <a:gdLst/>
            <a:ahLst/>
            <a:cxnLst/>
            <a:rect l="l" t="t" r="r" b="b"/>
            <a:pathLst>
              <a:path w="1188084" h="1157604">
                <a:moveTo>
                  <a:pt x="0" y="0"/>
                </a:moveTo>
                <a:lnTo>
                  <a:pt x="1187526" y="0"/>
                </a:lnTo>
                <a:lnTo>
                  <a:pt x="1187526" y="1157541"/>
                </a:lnTo>
                <a:lnTo>
                  <a:pt x="0" y="1157541"/>
                </a:lnTo>
                <a:lnTo>
                  <a:pt x="0" y="0"/>
                </a:lnTo>
                <a:close/>
              </a:path>
            </a:pathLst>
          </a:custGeom>
          <a:ln w="25400">
            <a:solidFill>
              <a:srgbClr val="FFFFFF"/>
            </a:solidFill>
          </a:ln>
        </p:spPr>
        <p:txBody>
          <a:bodyPr wrap="square" lIns="0" tIns="0" rIns="0" bIns="0" rtlCol="0"/>
          <a:lstStyle/>
          <a:p>
            <a:endParaRPr/>
          </a:p>
        </p:txBody>
      </p:sp>
      <p:sp>
        <p:nvSpPr>
          <p:cNvPr id="19" name="bg object 19"/>
          <p:cNvSpPr/>
          <p:nvPr/>
        </p:nvSpPr>
        <p:spPr>
          <a:xfrm>
            <a:off x="5599140" y="3562885"/>
            <a:ext cx="995044" cy="344170"/>
          </a:xfrm>
          <a:custGeom>
            <a:avLst/>
            <a:gdLst/>
            <a:ahLst/>
            <a:cxnLst/>
            <a:rect l="l" t="t" r="r" b="b"/>
            <a:pathLst>
              <a:path w="995045" h="344170">
                <a:moveTo>
                  <a:pt x="972400" y="5778"/>
                </a:moveTo>
                <a:lnTo>
                  <a:pt x="881583" y="5778"/>
                </a:lnTo>
                <a:lnTo>
                  <a:pt x="859500" y="7232"/>
                </a:lnTo>
                <a:lnTo>
                  <a:pt x="821670" y="18835"/>
                </a:lnTo>
                <a:lnTo>
                  <a:pt x="783275" y="58661"/>
                </a:lnTo>
                <a:lnTo>
                  <a:pt x="775766" y="101346"/>
                </a:lnTo>
                <a:lnTo>
                  <a:pt x="777355" y="118370"/>
                </a:lnTo>
                <a:lnTo>
                  <a:pt x="797293" y="157276"/>
                </a:lnTo>
                <a:lnTo>
                  <a:pt x="840621" y="192395"/>
                </a:lnTo>
                <a:lnTo>
                  <a:pt x="859650" y="205968"/>
                </a:lnTo>
                <a:lnTo>
                  <a:pt x="877907" y="219403"/>
                </a:lnTo>
                <a:lnTo>
                  <a:pt x="890843" y="230733"/>
                </a:lnTo>
                <a:lnTo>
                  <a:pt x="898542" y="240072"/>
                </a:lnTo>
                <a:lnTo>
                  <a:pt x="901090" y="247535"/>
                </a:lnTo>
                <a:lnTo>
                  <a:pt x="898789" y="255685"/>
                </a:lnTo>
                <a:lnTo>
                  <a:pt x="892665" y="261392"/>
                </a:lnTo>
                <a:lnTo>
                  <a:pt x="882629" y="264750"/>
                </a:lnTo>
                <a:lnTo>
                  <a:pt x="868591" y="265849"/>
                </a:lnTo>
                <a:lnTo>
                  <a:pt x="778319" y="265849"/>
                </a:lnTo>
                <a:lnTo>
                  <a:pt x="778319" y="343916"/>
                </a:lnTo>
                <a:lnTo>
                  <a:pt x="871562" y="343916"/>
                </a:lnTo>
                <a:lnTo>
                  <a:pt x="905808" y="342119"/>
                </a:lnTo>
                <a:lnTo>
                  <a:pt x="955255" y="327676"/>
                </a:lnTo>
                <a:lnTo>
                  <a:pt x="981212" y="299629"/>
                </a:lnTo>
                <a:lnTo>
                  <a:pt x="993375" y="263482"/>
                </a:lnTo>
                <a:lnTo>
                  <a:pt x="994879" y="242697"/>
                </a:lnTo>
                <a:lnTo>
                  <a:pt x="993098" y="225842"/>
                </a:lnTo>
                <a:lnTo>
                  <a:pt x="970470" y="185305"/>
                </a:lnTo>
                <a:lnTo>
                  <a:pt x="924737" y="148929"/>
                </a:lnTo>
                <a:lnTo>
                  <a:pt x="905535" y="135991"/>
                </a:lnTo>
                <a:lnTo>
                  <a:pt x="887554" y="123343"/>
                </a:lnTo>
                <a:lnTo>
                  <a:pt x="874780" y="112825"/>
                </a:lnTo>
                <a:lnTo>
                  <a:pt x="867157" y="104371"/>
                </a:lnTo>
                <a:lnTo>
                  <a:pt x="864628" y="97917"/>
                </a:lnTo>
                <a:lnTo>
                  <a:pt x="865123" y="92697"/>
                </a:lnTo>
                <a:lnTo>
                  <a:pt x="866647" y="89255"/>
                </a:lnTo>
                <a:lnTo>
                  <a:pt x="870076" y="87376"/>
                </a:lnTo>
                <a:lnTo>
                  <a:pt x="874153" y="84975"/>
                </a:lnTo>
                <a:lnTo>
                  <a:pt x="878598" y="83972"/>
                </a:lnTo>
                <a:lnTo>
                  <a:pt x="972400" y="83972"/>
                </a:lnTo>
                <a:lnTo>
                  <a:pt x="972400" y="5778"/>
                </a:lnTo>
                <a:close/>
              </a:path>
              <a:path w="995045" h="344170">
                <a:moveTo>
                  <a:pt x="511505" y="5422"/>
                </a:moveTo>
                <a:lnTo>
                  <a:pt x="511695" y="343814"/>
                </a:lnTo>
                <a:lnTo>
                  <a:pt x="597776" y="343916"/>
                </a:lnTo>
                <a:lnTo>
                  <a:pt x="597776" y="215773"/>
                </a:lnTo>
                <a:lnTo>
                  <a:pt x="753999" y="215773"/>
                </a:lnTo>
                <a:lnTo>
                  <a:pt x="753999" y="134632"/>
                </a:lnTo>
                <a:lnTo>
                  <a:pt x="597776" y="134632"/>
                </a:lnTo>
                <a:lnTo>
                  <a:pt x="597776" y="5880"/>
                </a:lnTo>
                <a:lnTo>
                  <a:pt x="511505" y="5422"/>
                </a:lnTo>
                <a:close/>
              </a:path>
              <a:path w="995045" h="344170">
                <a:moveTo>
                  <a:pt x="753999" y="215773"/>
                </a:moveTo>
                <a:lnTo>
                  <a:pt x="666584" y="215773"/>
                </a:lnTo>
                <a:lnTo>
                  <a:pt x="666584" y="343916"/>
                </a:lnTo>
                <a:lnTo>
                  <a:pt x="753999" y="343916"/>
                </a:lnTo>
                <a:lnTo>
                  <a:pt x="753999" y="215773"/>
                </a:lnTo>
                <a:close/>
              </a:path>
              <a:path w="995045" h="344170">
                <a:moveTo>
                  <a:pt x="753999" y="5880"/>
                </a:moveTo>
                <a:lnTo>
                  <a:pt x="666584" y="5880"/>
                </a:lnTo>
                <a:lnTo>
                  <a:pt x="666584" y="134632"/>
                </a:lnTo>
                <a:lnTo>
                  <a:pt x="753999" y="134632"/>
                </a:lnTo>
                <a:lnTo>
                  <a:pt x="753999" y="5880"/>
                </a:lnTo>
                <a:close/>
              </a:path>
              <a:path w="995045" h="344170">
                <a:moveTo>
                  <a:pt x="483349" y="5778"/>
                </a:moveTo>
                <a:lnTo>
                  <a:pt x="425830" y="5880"/>
                </a:lnTo>
                <a:lnTo>
                  <a:pt x="361746" y="18145"/>
                </a:lnTo>
                <a:lnTo>
                  <a:pt x="310045" y="55003"/>
                </a:lnTo>
                <a:lnTo>
                  <a:pt x="275482" y="109647"/>
                </a:lnTo>
                <a:lnTo>
                  <a:pt x="264121" y="175120"/>
                </a:lnTo>
                <a:lnTo>
                  <a:pt x="267205" y="209145"/>
                </a:lnTo>
                <a:lnTo>
                  <a:pt x="290080" y="268876"/>
                </a:lnTo>
                <a:lnTo>
                  <a:pt x="334964" y="316282"/>
                </a:lnTo>
                <a:lnTo>
                  <a:pt x="392789" y="340887"/>
                </a:lnTo>
                <a:lnTo>
                  <a:pt x="425830" y="343966"/>
                </a:lnTo>
                <a:lnTo>
                  <a:pt x="484619" y="343369"/>
                </a:lnTo>
                <a:lnTo>
                  <a:pt x="484175" y="262966"/>
                </a:lnTo>
                <a:lnTo>
                  <a:pt x="441807" y="262966"/>
                </a:lnTo>
                <a:lnTo>
                  <a:pt x="423263" y="261296"/>
                </a:lnTo>
                <a:lnTo>
                  <a:pt x="378917" y="240665"/>
                </a:lnTo>
                <a:lnTo>
                  <a:pt x="356475" y="195234"/>
                </a:lnTo>
                <a:lnTo>
                  <a:pt x="354990" y="175120"/>
                </a:lnTo>
                <a:lnTo>
                  <a:pt x="356475" y="154481"/>
                </a:lnTo>
                <a:lnTo>
                  <a:pt x="378917" y="109474"/>
                </a:lnTo>
                <a:lnTo>
                  <a:pt x="423263" y="88264"/>
                </a:lnTo>
                <a:lnTo>
                  <a:pt x="441807" y="86893"/>
                </a:lnTo>
                <a:lnTo>
                  <a:pt x="483349" y="86893"/>
                </a:lnTo>
                <a:lnTo>
                  <a:pt x="483349" y="5778"/>
                </a:lnTo>
                <a:close/>
              </a:path>
              <a:path w="995045" h="344170">
                <a:moveTo>
                  <a:pt x="484174" y="262864"/>
                </a:moveTo>
                <a:lnTo>
                  <a:pt x="441807" y="262966"/>
                </a:lnTo>
                <a:lnTo>
                  <a:pt x="484175" y="262966"/>
                </a:lnTo>
                <a:close/>
              </a:path>
              <a:path w="995045" h="344170">
                <a:moveTo>
                  <a:pt x="122313" y="0"/>
                </a:moveTo>
                <a:lnTo>
                  <a:pt x="72413" y="8812"/>
                </a:lnTo>
                <a:lnTo>
                  <a:pt x="33439" y="33769"/>
                </a:lnTo>
                <a:lnTo>
                  <a:pt x="8289" y="72486"/>
                </a:lnTo>
                <a:lnTo>
                  <a:pt x="0" y="122110"/>
                </a:lnTo>
                <a:lnTo>
                  <a:pt x="0" y="343954"/>
                </a:lnTo>
                <a:lnTo>
                  <a:pt x="86804" y="343954"/>
                </a:lnTo>
                <a:lnTo>
                  <a:pt x="86804" y="272618"/>
                </a:lnTo>
                <a:lnTo>
                  <a:pt x="245046" y="272618"/>
                </a:lnTo>
                <a:lnTo>
                  <a:pt x="245046" y="201066"/>
                </a:lnTo>
                <a:lnTo>
                  <a:pt x="158534" y="201066"/>
                </a:lnTo>
                <a:lnTo>
                  <a:pt x="86880" y="200977"/>
                </a:lnTo>
                <a:lnTo>
                  <a:pt x="86934" y="122110"/>
                </a:lnTo>
                <a:lnTo>
                  <a:pt x="101602" y="86859"/>
                </a:lnTo>
                <a:lnTo>
                  <a:pt x="122313" y="80708"/>
                </a:lnTo>
                <a:lnTo>
                  <a:pt x="238582" y="80708"/>
                </a:lnTo>
                <a:lnTo>
                  <a:pt x="236347" y="72486"/>
                </a:lnTo>
                <a:lnTo>
                  <a:pt x="211188" y="33769"/>
                </a:lnTo>
                <a:lnTo>
                  <a:pt x="171742" y="8393"/>
                </a:lnTo>
                <a:lnTo>
                  <a:pt x="148298" y="2092"/>
                </a:lnTo>
                <a:lnTo>
                  <a:pt x="122313" y="0"/>
                </a:lnTo>
                <a:close/>
              </a:path>
              <a:path w="995045" h="344170">
                <a:moveTo>
                  <a:pt x="245046" y="272618"/>
                </a:moveTo>
                <a:lnTo>
                  <a:pt x="157810" y="272618"/>
                </a:lnTo>
                <a:lnTo>
                  <a:pt x="157670" y="343954"/>
                </a:lnTo>
                <a:lnTo>
                  <a:pt x="245046" y="343954"/>
                </a:lnTo>
                <a:lnTo>
                  <a:pt x="245046" y="272618"/>
                </a:lnTo>
                <a:close/>
              </a:path>
              <a:path w="995045" h="344170">
                <a:moveTo>
                  <a:pt x="238582" y="80708"/>
                </a:moveTo>
                <a:lnTo>
                  <a:pt x="122313" y="80708"/>
                </a:lnTo>
                <a:lnTo>
                  <a:pt x="130063" y="81444"/>
                </a:lnTo>
                <a:lnTo>
                  <a:pt x="136880" y="83642"/>
                </a:lnTo>
                <a:lnTo>
                  <a:pt x="157721" y="122732"/>
                </a:lnTo>
                <a:lnTo>
                  <a:pt x="158534" y="201066"/>
                </a:lnTo>
                <a:lnTo>
                  <a:pt x="245046" y="201066"/>
                </a:lnTo>
                <a:lnTo>
                  <a:pt x="245046" y="122110"/>
                </a:lnTo>
                <a:lnTo>
                  <a:pt x="242720" y="95928"/>
                </a:lnTo>
                <a:lnTo>
                  <a:pt x="238582" y="80708"/>
                </a:lnTo>
                <a:close/>
              </a:path>
            </a:pathLst>
          </a:custGeom>
          <a:solidFill>
            <a:srgbClr val="FFFFFF"/>
          </a:solidFill>
        </p:spPr>
        <p:txBody>
          <a:bodyPr wrap="square" lIns="0" tIns="0" rIns="0" bIns="0" rtlCol="0"/>
          <a:lstStyle/>
          <a:p>
            <a:endParaRPr/>
          </a:p>
        </p:txBody>
      </p:sp>
      <p:sp>
        <p:nvSpPr>
          <p:cNvPr id="20" name="bg object 20"/>
          <p:cNvSpPr/>
          <p:nvPr/>
        </p:nvSpPr>
        <p:spPr>
          <a:xfrm>
            <a:off x="657223" y="0"/>
            <a:ext cx="6350" cy="6858000"/>
          </a:xfrm>
          <a:custGeom>
            <a:avLst/>
            <a:gdLst/>
            <a:ahLst/>
            <a:cxnLst/>
            <a:rect l="l" t="t" r="r" b="b"/>
            <a:pathLst>
              <a:path w="6350" h="6858000">
                <a:moveTo>
                  <a:pt x="0" y="6858000"/>
                </a:moveTo>
                <a:lnTo>
                  <a:pt x="6350" y="6858000"/>
                </a:lnTo>
                <a:lnTo>
                  <a:pt x="6350" y="0"/>
                </a:lnTo>
                <a:lnTo>
                  <a:pt x="0" y="0"/>
                </a:lnTo>
                <a:lnTo>
                  <a:pt x="0" y="6858000"/>
                </a:lnTo>
                <a:close/>
              </a:path>
            </a:pathLst>
          </a:custGeom>
          <a:solidFill>
            <a:srgbClr val="00A19B"/>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800" b="0" i="0">
                <a:solidFill>
                  <a:srgbClr val="BCBEC0"/>
                </a:solidFill>
                <a:latin typeface="Tahoma"/>
                <a:cs typeface="Tahoma"/>
              </a:defRPr>
            </a:lvl1pPr>
          </a:lstStyle>
          <a:p>
            <a:pPr marL="12700" marR="5080" indent="31750" algn="r">
              <a:lnSpc>
                <a:spcPct val="104200"/>
              </a:lnSpc>
              <a:spcBef>
                <a:spcPts val="60"/>
              </a:spcBef>
            </a:pPr>
            <a:r>
              <a:rPr spc="5" dirty="0"/>
              <a:t>Protocolo</a:t>
            </a:r>
            <a:r>
              <a:rPr spc="-85" dirty="0"/>
              <a:t> </a:t>
            </a:r>
            <a:r>
              <a:rPr spc="-5" dirty="0"/>
              <a:t>de</a:t>
            </a:r>
            <a:r>
              <a:rPr spc="-80" dirty="0"/>
              <a:t> </a:t>
            </a:r>
            <a:r>
              <a:rPr spc="-5" dirty="0"/>
              <a:t>Trastornos</a:t>
            </a:r>
            <a:r>
              <a:rPr spc="-85" dirty="0"/>
              <a:t> </a:t>
            </a:r>
            <a:r>
              <a:rPr spc="5" dirty="0"/>
              <a:t>Musculoesqueléticos </a:t>
            </a:r>
            <a:r>
              <a:rPr spc="-235" dirty="0"/>
              <a:t> </a:t>
            </a:r>
            <a:r>
              <a:rPr spc="-15" dirty="0"/>
              <a:t>R</a:t>
            </a:r>
            <a:r>
              <a:rPr spc="5" dirty="0"/>
              <a:t>elacionados</a:t>
            </a:r>
            <a:r>
              <a:rPr spc="-90" dirty="0"/>
              <a:t> </a:t>
            </a:r>
            <a:r>
              <a:rPr spc="-5" dirty="0"/>
              <a:t>al</a:t>
            </a:r>
            <a:r>
              <a:rPr spc="-90" dirty="0"/>
              <a:t> </a:t>
            </a:r>
            <a:r>
              <a:rPr spc="-60" dirty="0"/>
              <a:t>T</a:t>
            </a:r>
            <a:r>
              <a:rPr spc="-5" dirty="0"/>
              <a:t>r</a:t>
            </a:r>
            <a:r>
              <a:rPr spc="-15" dirty="0"/>
              <a:t>abajo</a:t>
            </a:r>
            <a:r>
              <a:rPr spc="-90" dirty="0"/>
              <a:t> </a:t>
            </a:r>
            <a:r>
              <a:rPr spc="-45" dirty="0"/>
              <a:t>(T</a:t>
            </a:r>
            <a:r>
              <a:rPr spc="-85" dirty="0"/>
              <a:t>M</a:t>
            </a:r>
            <a:r>
              <a:rPr spc="10" dirty="0"/>
              <a:t>E</a:t>
            </a:r>
            <a:r>
              <a:rPr spc="5" dirty="0"/>
              <a:t>R</a:t>
            </a:r>
            <a:r>
              <a:rPr spc="-40" dirty="0"/>
              <a:t>T).  </a:t>
            </a:r>
            <a:r>
              <a:rPr dirty="0"/>
              <a:t>Extremidades</a:t>
            </a:r>
            <a:r>
              <a:rPr spc="-75" dirty="0"/>
              <a:t> </a:t>
            </a:r>
            <a:r>
              <a:rPr dirty="0"/>
              <a:t>superiores.</a:t>
            </a:r>
            <a:r>
              <a:rPr spc="-75" dirty="0"/>
              <a:t> </a:t>
            </a:r>
            <a:r>
              <a:rPr b="1" spc="-105" dirty="0">
                <a:latin typeface="Tahoma"/>
                <a:cs typeface="Tahoma"/>
              </a:rPr>
              <a:t>DIFUSIÓN</a:t>
            </a:r>
            <a:r>
              <a:rPr b="1" spc="-60" dirty="0">
                <a:latin typeface="Tahoma"/>
                <a:cs typeface="Tahoma"/>
              </a:rPr>
              <a:t> </a:t>
            </a:r>
            <a:r>
              <a:rPr b="1" spc="-70" dirty="0">
                <a:latin typeface="Tahoma"/>
                <a:cs typeface="Tahoma"/>
              </a:rPr>
              <a:t>INTERNA.</a:t>
            </a:r>
          </a:p>
        </p:txBody>
      </p:sp>
      <p:sp>
        <p:nvSpPr>
          <p:cNvPr id="3" name="Holder 3"/>
          <p:cNvSpPr>
            <a:spLocks noGrp="1"/>
          </p:cNvSpPr>
          <p:nvPr>
            <p:ph type="dt" sz="half" idx="6"/>
          </p:nvPr>
        </p:nvSpPr>
        <p:spPr>
          <a:xfrm>
            <a:off x="609917" y="6377940"/>
            <a:ext cx="28056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7/2024</a:t>
            </a:fld>
            <a:endParaRPr lang="en-US"/>
          </a:p>
        </p:txBody>
      </p:sp>
      <p:sp>
        <p:nvSpPr>
          <p:cNvPr id="4" name="Holder 4"/>
          <p:cNvSpPr>
            <a:spLocks noGrp="1"/>
          </p:cNvSpPr>
          <p:nvPr>
            <p:ph type="sldNum" sz="quarter" idx="7"/>
          </p:nvPr>
        </p:nvSpPr>
        <p:spPr/>
        <p:txBody>
          <a:bodyPr lIns="0" tIns="0" rIns="0" bIns="0"/>
          <a:lstStyle>
            <a:lvl1pPr>
              <a:defRPr sz="1200" b="0" i="0">
                <a:solidFill>
                  <a:srgbClr val="808285"/>
                </a:solidFill>
                <a:latin typeface="Tahoma"/>
                <a:cs typeface="Tahoma"/>
              </a:defRPr>
            </a:lvl1pPr>
          </a:lstStyle>
          <a:p>
            <a:pPr marL="38100">
              <a:lnSpc>
                <a:spcPct val="100000"/>
              </a:lnSpc>
              <a:spcBef>
                <a:spcPts val="100"/>
              </a:spcBef>
            </a:pPr>
            <a:fld id="{81D60167-4931-47E6-BA6A-407CBD079E47}" type="slidenum">
              <a:rPr spc="-110" dirty="0"/>
              <a:t>‹Nº›</a:t>
            </a:fld>
            <a:endParaRPr spc="-110" dirty="0"/>
          </a:p>
        </p:txBody>
      </p:sp>
    </p:spTree>
    <p:extLst>
      <p:ext uri="{BB962C8B-B14F-4D97-AF65-F5344CB8AC3E}">
        <p14:creationId xmlns:p14="http://schemas.microsoft.com/office/powerpoint/2010/main" val="1228831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77029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5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55A1FD02-61B9-9362-9931-2500DDF39A2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1" y="2512390"/>
            <a:ext cx="4429338" cy="1833217"/>
          </a:xfrm>
          <a:prstGeom prst="rect">
            <a:avLst/>
          </a:prstGeom>
        </p:spPr>
      </p:pic>
    </p:spTree>
    <p:extLst>
      <p:ext uri="{BB962C8B-B14F-4D97-AF65-F5344CB8AC3E}">
        <p14:creationId xmlns:p14="http://schemas.microsoft.com/office/powerpoint/2010/main" val="2508229537"/>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ext uri="{D42A27DB-BD31-4B8C-83A1-F6EECF244321}">
                <p14:modId xmlns:p14="http://schemas.microsoft.com/office/powerpoint/2010/main" val="4241084120"/>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6271"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 xmlns:a16="http://schemas.microsoft.com/office/drawing/2014/main"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1958325503"/>
      </p:ext>
    </p:extLst>
  </p:cSld>
  <p:clrMapOvr>
    <a:masterClrMapping/>
  </p:clrMapOvr>
  <p:transition spd="med"/>
  <p:timing>
    <p:tnLst>
      <p:par>
        <p:cTn id="1" dur="indefinite" restart="never" nodeType="tmRoot"/>
      </p:par>
    </p:tnLst>
  </p:timing>
  <p:extLst mod="1">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smtClean="0"/>
              <a:t>Texto</a:t>
            </a:r>
            <a:endParaRPr lang="es-CL" dirty="0"/>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 xmlns:a16="http://schemas.microsoft.com/office/drawing/2014/main"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 xmlns:a16="http://schemas.microsoft.com/office/drawing/2014/main"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2741311882"/>
      </p:ext>
    </p:extLst>
  </p:cSld>
  <p:clrMapOvr>
    <a:overrideClrMapping bg1="lt1" tx1="dk1" bg2="lt2" tx2="dk2" accent1="accent1" accent2="accent2" accent3="accent3" accent4="accent4" accent5="accent5" accent6="accent6" hlink="hlink" folHlink="folHlink"/>
  </p:clrMapOvr>
  <p:transition spd="med"/>
  <p:timing>
    <p:tnLst>
      <p:par>
        <p:cTn id="1" dur="indefinite" restart="never" nodeType="tmRoot"/>
      </p:par>
    </p:tnLst>
  </p:timing>
  <p:extLst mod="1">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image" Target="../media/image4.sv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tags" Target="../tags/tag13.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vmlDrawing" Target="../drawings/vmlDrawing12.vml"/><Relationship Id="rId61" Type="http://schemas.openxmlformats.org/officeDocument/2006/relationships/image" Target="../media/image4.png"/><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theme" Target="../theme/theme2.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oleObject" Target="../embeddings/oleObject1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7"/>
            </p:custDataLst>
            <p:extLst>
              <p:ext uri="{D42A27DB-BD31-4B8C-83A1-F6EECF244321}">
                <p14:modId xmlns:p14="http://schemas.microsoft.com/office/powerpoint/2010/main" val="1328405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6" name="Diapositiva de think-cell" r:id="rId18" imgW="395" imgH="396" progId="TCLayout.ActiveDocument.1">
                  <p:embed/>
                </p:oleObj>
              </mc:Choice>
              <mc:Fallback>
                <p:oleObj name="Diapositiva de think-cell" r:id="rId18" imgW="395" imgH="396" progId="TCLayout.ActiveDocument.1">
                  <p:embed/>
                  <p:pic>
                    <p:nvPicPr>
                      <p:cNvPr id="7" name="Objeto 6" hidden="1">
                        <a:extLst>
                          <a:ext uri="{FF2B5EF4-FFF2-40B4-BE49-F238E27FC236}">
                            <a16:creationId xmlns:a16="http://schemas.microsoft.com/office/drawing/2014/main" xmlns="" id="{7E22C0DD-7EC0-CB13-19EE-F05783A24E2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9" name="Círculo">
            <a:extLst>
              <a:ext uri="{FF2B5EF4-FFF2-40B4-BE49-F238E27FC236}">
                <a16:creationId xmlns:a16="http://schemas.microsoft.com/office/drawing/2014/main" xmlns=""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60" name="Círculo">
            <a:extLst>
              <a:ext uri="{FF2B5EF4-FFF2-40B4-BE49-F238E27FC236}">
                <a16:creationId xmlns:a16="http://schemas.microsoft.com/office/drawing/2014/main" xmlns=""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64" name="Círculo">
            <a:extLst>
              <a:ext uri="{FF2B5EF4-FFF2-40B4-BE49-F238E27FC236}">
                <a16:creationId xmlns:a16="http://schemas.microsoft.com/office/drawing/2014/main" xmlns=""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 name="Círculo">
            <a:extLst>
              <a:ext uri="{FF2B5EF4-FFF2-40B4-BE49-F238E27FC236}">
                <a16:creationId xmlns:a16="http://schemas.microsoft.com/office/drawing/2014/main" xmlns=""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3" name="Rectángulo 2">
            <a:extLst>
              <a:ext uri="{FF2B5EF4-FFF2-40B4-BE49-F238E27FC236}">
                <a16:creationId xmlns:a16="http://schemas.microsoft.com/office/drawing/2014/main" xmlns=""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4" name="Círculo">
            <a:extLst>
              <a:ext uri="{FF2B5EF4-FFF2-40B4-BE49-F238E27FC236}">
                <a16:creationId xmlns:a16="http://schemas.microsoft.com/office/drawing/2014/main" xmlns=""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6" name="Círculo">
            <a:extLst>
              <a:ext uri="{FF2B5EF4-FFF2-40B4-BE49-F238E27FC236}">
                <a16:creationId xmlns:a16="http://schemas.microsoft.com/office/drawing/2014/main" xmlns=""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8" name="Rectángulo 7">
            <a:extLst>
              <a:ext uri="{FF2B5EF4-FFF2-40B4-BE49-F238E27FC236}">
                <a16:creationId xmlns:a16="http://schemas.microsoft.com/office/drawing/2014/main" xmlns=""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10" name="Rectángulo 9">
            <a:extLst>
              <a:ext uri="{FF2B5EF4-FFF2-40B4-BE49-F238E27FC236}">
                <a16:creationId xmlns:a16="http://schemas.microsoft.com/office/drawing/2014/main" xmlns=""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11" name="Rectángulo 10">
            <a:extLst>
              <a:ext uri="{FF2B5EF4-FFF2-40B4-BE49-F238E27FC236}">
                <a16:creationId xmlns:a16="http://schemas.microsoft.com/office/drawing/2014/main" xmlns=""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12" name="CuadroTexto 11">
            <a:extLst>
              <a:ext uri="{FF2B5EF4-FFF2-40B4-BE49-F238E27FC236}">
                <a16:creationId xmlns:a16="http://schemas.microsoft.com/office/drawing/2014/main" xmlns=""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13" name="Rectángulo 12">
            <a:extLst>
              <a:ext uri="{FF2B5EF4-FFF2-40B4-BE49-F238E27FC236}">
                <a16:creationId xmlns:a16="http://schemas.microsoft.com/office/drawing/2014/main" xmlns=""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28" name="Rectángulo 27">
            <a:extLst>
              <a:ext uri="{FF2B5EF4-FFF2-40B4-BE49-F238E27FC236}">
                <a16:creationId xmlns:a16="http://schemas.microsoft.com/office/drawing/2014/main" xmlns=""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29" name="CuadroTexto 28">
            <a:extLst>
              <a:ext uri="{FF2B5EF4-FFF2-40B4-BE49-F238E27FC236}">
                <a16:creationId xmlns:a16="http://schemas.microsoft.com/office/drawing/2014/main" xmlns=""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27" name="Rectángulo 26">
            <a:extLst>
              <a:ext uri="{FF2B5EF4-FFF2-40B4-BE49-F238E27FC236}">
                <a16:creationId xmlns=""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33" name="Círculo">
            <a:extLst>
              <a:ext uri="{FF2B5EF4-FFF2-40B4-BE49-F238E27FC236}">
                <a16:creationId xmlns=""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34" name="Círculo">
            <a:extLst>
              <a:ext uri="{FF2B5EF4-FFF2-40B4-BE49-F238E27FC236}">
                <a16:creationId xmlns=""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0" name="Círculo">
            <a:extLst>
              <a:ext uri="{FF2B5EF4-FFF2-40B4-BE49-F238E27FC236}">
                <a16:creationId xmlns=""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42" name="Círculo">
            <a:extLst>
              <a:ext uri="{FF2B5EF4-FFF2-40B4-BE49-F238E27FC236}">
                <a16:creationId xmlns=""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4" name="Círculo">
            <a:extLst>
              <a:ext uri="{FF2B5EF4-FFF2-40B4-BE49-F238E27FC236}">
                <a16:creationId xmlns=""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3" name="Rectángulo 22">
            <a:extLst>
              <a:ext uri="{FF2B5EF4-FFF2-40B4-BE49-F238E27FC236}">
                <a16:creationId xmlns=""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smtClean="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567810667"/>
      </p:ext>
    </p:extLst>
  </p:cSld>
  <p:clrMap bg1="lt1" tx1="dk1" bg2="lt2" tx2="dk2" accent1="accent1" accent2="accent2" accent3="accent3" accent4="accent4" accent5="accent5" accent6="accent6" hlink="hlink" folHlink="folHlink"/>
  <p:sldLayoutIdLst>
    <p:sldLayoutId id="2147483929" r:id="rId1"/>
    <p:sldLayoutId id="2147483723" r:id="rId2"/>
    <p:sldLayoutId id="2147483721" r:id="rId3"/>
    <p:sldLayoutId id="2147483722" r:id="rId4"/>
    <p:sldLayoutId id="2147483726" r:id="rId5"/>
    <p:sldLayoutId id="2147484000" r:id="rId6"/>
    <p:sldLayoutId id="2147483724" r:id="rId7"/>
    <p:sldLayoutId id="2147483725" r:id="rId8"/>
    <p:sldLayoutId id="2147483932" r:id="rId9"/>
    <p:sldLayoutId id="2147483739" r:id="rId10"/>
    <p:sldLayoutId id="2147483930" r:id="rId11"/>
    <p:sldLayoutId id="2147483931" r:id="rId12"/>
    <p:sldLayoutId id="2147484007" r:id="rId13"/>
    <p:sldLayoutId id="2147484008" r:id="rId14"/>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23" userDrawn="1">
          <p15:clr>
            <a:srgbClr val="F26B43"/>
          </p15:clr>
        </p15:guide>
        <p15:guide id="7"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58"/>
            </p:custDataLst>
            <p:extLst>
              <p:ext uri="{D42A27DB-BD31-4B8C-83A1-F6EECF244321}">
                <p14:modId xmlns:p14="http://schemas.microsoft.com/office/powerpoint/2010/main" val="364619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19" name="Diapositiva de think-cell" r:id="rId59" imgW="395" imgH="396" progId="TCLayout.ActiveDocument.1">
                  <p:embed/>
                </p:oleObj>
              </mc:Choice>
              <mc:Fallback>
                <p:oleObj name="Diapositiva de think-cell" r:id="rId59" imgW="395" imgH="396" progId="TCLayout.ActiveDocument.1">
                  <p:embed/>
                  <p:pic>
                    <p:nvPicPr>
                      <p:cNvPr id="0" name=""/>
                      <p:cNvPicPr/>
                      <p:nvPr/>
                    </p:nvPicPr>
                    <p:blipFill>
                      <a:blip r:embed="rId60"/>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a16="http://schemas.microsoft.com/office/drawing/2014/main" xmlns=""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a16="http://schemas.microsoft.com/office/drawing/2014/main" xmlns=""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a16="http://schemas.microsoft.com/office/drawing/2014/main" xmlns=""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32" name="Marcador de pie de página 2">
            <a:extLst>
              <a:ext uri="{FF2B5EF4-FFF2-40B4-BE49-F238E27FC236}">
                <a16:creationId xmlns:a16="http://schemas.microsoft.com/office/drawing/2014/main" xmlns=""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p>
        </p:txBody>
      </p:sp>
      <p:pic>
        <p:nvPicPr>
          <p:cNvPr id="3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1" cstate="print">
            <a:extLst>
              <a:ext uri="{28A0092B-C50C-407E-A947-70E740481C1C}">
                <a14:useLocalDpi xmlns:a14="http://schemas.microsoft.com/office/drawing/2010/main" val="0"/>
              </a:ext>
              <a:ext uri="{96DAC541-7B7A-43D3-8B79-37D633B846F1}">
                <asvg:svgBlip xmlns="" xmlns:asvg="http://schemas.microsoft.com/office/drawing/2016/SVG/main" r:embed="rId62"/>
              </a:ext>
            </a:extLst>
          </a:blip>
          <a:stretch>
            <a:fillRect/>
          </a:stretch>
        </p:blipFill>
        <p:spPr>
          <a:xfrm>
            <a:off x="10559444" y="367977"/>
            <a:ext cx="1224570" cy="506827"/>
          </a:xfrm>
          <a:prstGeom prst="rect">
            <a:avLst/>
          </a:prstGeom>
        </p:spPr>
      </p:pic>
      <p:sp>
        <p:nvSpPr>
          <p:cNvPr id="52" name="Círculo">
            <a:extLst>
              <a:ext uri="{FF2B5EF4-FFF2-40B4-BE49-F238E27FC236}">
                <a16:creationId xmlns:a16="http://schemas.microsoft.com/office/drawing/2014/main" xmlns=""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53" name="Círculo">
            <a:extLst>
              <a:ext uri="{FF2B5EF4-FFF2-40B4-BE49-F238E27FC236}">
                <a16:creationId xmlns:a16="http://schemas.microsoft.com/office/drawing/2014/main" xmlns=""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54" name="Círculo">
            <a:extLst>
              <a:ext uri="{FF2B5EF4-FFF2-40B4-BE49-F238E27FC236}">
                <a16:creationId xmlns:a16="http://schemas.microsoft.com/office/drawing/2014/main" xmlns=""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55" name="Círculo">
            <a:extLst>
              <a:ext uri="{FF2B5EF4-FFF2-40B4-BE49-F238E27FC236}">
                <a16:creationId xmlns:a16="http://schemas.microsoft.com/office/drawing/2014/main" xmlns=""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6" name="Rectángulo 55">
            <a:extLst>
              <a:ext uri="{FF2B5EF4-FFF2-40B4-BE49-F238E27FC236}">
                <a16:creationId xmlns:a16="http://schemas.microsoft.com/office/drawing/2014/main" xmlns=""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57" name="Círculo">
            <a:extLst>
              <a:ext uri="{FF2B5EF4-FFF2-40B4-BE49-F238E27FC236}">
                <a16:creationId xmlns:a16="http://schemas.microsoft.com/office/drawing/2014/main" xmlns=""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8" name="Círculo">
            <a:extLst>
              <a:ext uri="{FF2B5EF4-FFF2-40B4-BE49-F238E27FC236}">
                <a16:creationId xmlns:a16="http://schemas.microsoft.com/office/drawing/2014/main" xmlns=""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59" name="Rectángulo 58">
            <a:extLst>
              <a:ext uri="{FF2B5EF4-FFF2-40B4-BE49-F238E27FC236}">
                <a16:creationId xmlns:a16="http://schemas.microsoft.com/office/drawing/2014/main" xmlns=""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60" name="Rectángulo 59">
            <a:extLst>
              <a:ext uri="{FF2B5EF4-FFF2-40B4-BE49-F238E27FC236}">
                <a16:creationId xmlns:a16="http://schemas.microsoft.com/office/drawing/2014/main" xmlns=""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61" name="Rectángulo 60">
            <a:extLst>
              <a:ext uri="{FF2B5EF4-FFF2-40B4-BE49-F238E27FC236}">
                <a16:creationId xmlns:a16="http://schemas.microsoft.com/office/drawing/2014/main" xmlns=""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62" name="CuadroTexto 61">
            <a:extLst>
              <a:ext uri="{FF2B5EF4-FFF2-40B4-BE49-F238E27FC236}">
                <a16:creationId xmlns:a16="http://schemas.microsoft.com/office/drawing/2014/main" xmlns=""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63" name="Rectángulo 62">
            <a:extLst>
              <a:ext uri="{FF2B5EF4-FFF2-40B4-BE49-F238E27FC236}">
                <a16:creationId xmlns:a16="http://schemas.microsoft.com/office/drawing/2014/main" xmlns=""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64" name="Rectángulo 63">
            <a:extLst>
              <a:ext uri="{FF2B5EF4-FFF2-40B4-BE49-F238E27FC236}">
                <a16:creationId xmlns:a16="http://schemas.microsoft.com/office/drawing/2014/main" xmlns=""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65" name="CuadroTexto 64">
            <a:extLst>
              <a:ext uri="{FF2B5EF4-FFF2-40B4-BE49-F238E27FC236}">
                <a16:creationId xmlns:a16="http://schemas.microsoft.com/office/drawing/2014/main" xmlns=""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66" name="Rectángulo 65">
            <a:extLst>
              <a:ext uri="{FF2B5EF4-FFF2-40B4-BE49-F238E27FC236}">
                <a16:creationId xmlns=""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67" name="Círculo">
            <a:extLst>
              <a:ext uri="{FF2B5EF4-FFF2-40B4-BE49-F238E27FC236}">
                <a16:creationId xmlns=""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68" name="Círculo">
            <a:extLst>
              <a:ext uri="{FF2B5EF4-FFF2-40B4-BE49-F238E27FC236}">
                <a16:creationId xmlns=""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70" name="Círculo">
            <a:extLst>
              <a:ext uri="{FF2B5EF4-FFF2-40B4-BE49-F238E27FC236}">
                <a16:creationId xmlns=""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72" name="Rectángulo 71">
            <a:extLst>
              <a:ext uri="{FF2B5EF4-FFF2-40B4-BE49-F238E27FC236}">
                <a16:creationId xmlns=""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smtClean="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4012192010"/>
      </p:ext>
    </p:extLst>
  </p:cSld>
  <p:clrMap bg1="lt1" tx1="dk1" bg2="lt2" tx2="dk2" accent1="accent1" accent2="accent2" accent3="accent3" accent4="accent4" accent5="accent5" accent6="accent6" hlink="hlink" folHlink="folHlink"/>
  <p:sldLayoutIdLst>
    <p:sldLayoutId id="2147483901" r:id="rId1"/>
    <p:sldLayoutId id="2147483999" r:id="rId2"/>
    <p:sldLayoutId id="2147483998" r:id="rId3"/>
    <p:sldLayoutId id="2147483924" r:id="rId4"/>
    <p:sldLayoutId id="2147484003" r:id="rId5"/>
    <p:sldLayoutId id="2147483993" r:id="rId6"/>
    <p:sldLayoutId id="2147483992" r:id="rId7"/>
    <p:sldLayoutId id="2147483990" r:id="rId8"/>
    <p:sldLayoutId id="2147483991" r:id="rId9"/>
    <p:sldLayoutId id="2147483994" r:id="rId10"/>
    <p:sldLayoutId id="2147483995" r:id="rId11"/>
    <p:sldLayoutId id="2147484002" r:id="rId12"/>
    <p:sldLayoutId id="2147483996" r:id="rId13"/>
    <p:sldLayoutId id="2147483997" r:id="rId14"/>
    <p:sldLayoutId id="2147483953" r:id="rId15"/>
    <p:sldLayoutId id="2147483714" r:id="rId16"/>
    <p:sldLayoutId id="2147483954" r:id="rId17"/>
    <p:sldLayoutId id="2147483715" r:id="rId18"/>
    <p:sldLayoutId id="2147483733" r:id="rId19"/>
    <p:sldLayoutId id="2147483732" r:id="rId20"/>
    <p:sldLayoutId id="2147484001" r:id="rId21"/>
    <p:sldLayoutId id="2147483730" r:id="rId22"/>
    <p:sldLayoutId id="2147483736" r:id="rId23"/>
    <p:sldLayoutId id="2147483737" r:id="rId24"/>
    <p:sldLayoutId id="2147483849" r:id="rId25"/>
    <p:sldLayoutId id="2147483902" r:id="rId26"/>
    <p:sldLayoutId id="2147483700" r:id="rId27"/>
    <p:sldLayoutId id="2147483905" r:id="rId28"/>
    <p:sldLayoutId id="2147483904" r:id="rId29"/>
    <p:sldLayoutId id="2147483911" r:id="rId30"/>
    <p:sldLayoutId id="2147483912" r:id="rId31"/>
    <p:sldLayoutId id="2147483906" r:id="rId32"/>
    <p:sldLayoutId id="2147483908" r:id="rId33"/>
    <p:sldLayoutId id="2147483910" r:id="rId34"/>
    <p:sldLayoutId id="2147483925" r:id="rId35"/>
    <p:sldLayoutId id="2147483913" r:id="rId36"/>
    <p:sldLayoutId id="2147483926" r:id="rId37"/>
    <p:sldLayoutId id="2147483915" r:id="rId38"/>
    <p:sldLayoutId id="2147483916" r:id="rId39"/>
    <p:sldLayoutId id="2147483914" r:id="rId40"/>
    <p:sldLayoutId id="2147483933" r:id="rId41"/>
    <p:sldLayoutId id="2147483918" r:id="rId42"/>
    <p:sldLayoutId id="2147483919" r:id="rId43"/>
    <p:sldLayoutId id="2147483920" r:id="rId44"/>
    <p:sldLayoutId id="2147483922" r:id="rId45"/>
    <p:sldLayoutId id="2147483923" r:id="rId46"/>
    <p:sldLayoutId id="2147483917" r:id="rId47"/>
    <p:sldLayoutId id="2147483921" r:id="rId48"/>
    <p:sldLayoutId id="2147483928" r:id="rId49"/>
    <p:sldLayoutId id="2147483927" r:id="rId50"/>
    <p:sldLayoutId id="2147483909" r:id="rId51"/>
    <p:sldLayoutId id="2147483907" r:id="rId52"/>
    <p:sldLayoutId id="2147484004" r:id="rId53"/>
    <p:sldLayoutId id="2147484005" r:id="rId54"/>
    <p:sldLayoutId id="2147484006" r:id="rId55"/>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00" userDrawn="1">
          <p15:clr>
            <a:srgbClr val="F26B43"/>
          </p15:clr>
        </p15:guide>
        <p15:guide id="7" orient="horz" pos="4065" userDrawn="1">
          <p15:clr>
            <a:srgbClr val="F26B43"/>
          </p15:clr>
        </p15:guide>
        <p15:guide id="8" orient="horz" pos="822"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2.xml"/><Relationship Id="rId7" Type="http://schemas.openxmlformats.org/officeDocument/2006/relationships/image" Target="../media/image26.png"/><Relationship Id="rId2" Type="http://schemas.openxmlformats.org/officeDocument/2006/relationships/tags" Target="../tags/tag82.xml"/><Relationship Id="rId1" Type="http://schemas.openxmlformats.org/officeDocument/2006/relationships/vmlDrawing" Target="../drawings/vmlDrawing65.vml"/><Relationship Id="rId6" Type="http://schemas.openxmlformats.org/officeDocument/2006/relationships/image" Target="../media/image25.png"/><Relationship Id="rId5" Type="http://schemas.openxmlformats.org/officeDocument/2006/relationships/image" Target="../media/image24.emf"/><Relationship Id="rId10" Type="http://schemas.openxmlformats.org/officeDocument/2006/relationships/image" Target="../media/image29.png"/><Relationship Id="rId4" Type="http://schemas.openxmlformats.org/officeDocument/2006/relationships/oleObject" Target="../embeddings/oleObject65.bin"/><Relationship Id="rId9" Type="http://schemas.openxmlformats.org/officeDocument/2006/relationships/image" Target="../media/image28.png"/></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png"/><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6.emf"/><Relationship Id="rId2" Type="http://schemas.openxmlformats.org/officeDocument/2006/relationships/tags" Target="../tags/tag89.xml"/><Relationship Id="rId1" Type="http://schemas.openxmlformats.org/officeDocument/2006/relationships/vmlDrawing" Target="../drawings/vmlDrawing69.vml"/><Relationship Id="rId6" Type="http://schemas.openxmlformats.org/officeDocument/2006/relationships/image" Target="../media/image30.emf"/><Relationship Id="rId5" Type="http://schemas.openxmlformats.org/officeDocument/2006/relationships/oleObject" Target="../embeddings/oleObject69.bin"/><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1.png"/><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31.png"/><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6.emf"/><Relationship Id="rId2" Type="http://schemas.openxmlformats.org/officeDocument/2006/relationships/tags" Target="../tags/tag91.xml"/><Relationship Id="rId1" Type="http://schemas.openxmlformats.org/officeDocument/2006/relationships/vmlDrawing" Target="../drawings/vmlDrawing70.vml"/><Relationship Id="rId6" Type="http://schemas.openxmlformats.org/officeDocument/2006/relationships/image" Target="../media/image30.emf"/><Relationship Id="rId5" Type="http://schemas.openxmlformats.org/officeDocument/2006/relationships/oleObject" Target="../embeddings/oleObject70.bin"/><Relationship Id="rId4"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6.emf"/><Relationship Id="rId2" Type="http://schemas.openxmlformats.org/officeDocument/2006/relationships/tags" Target="../tags/tag83.xml"/><Relationship Id="rId1" Type="http://schemas.openxmlformats.org/officeDocument/2006/relationships/vmlDrawing" Target="../drawings/vmlDrawing66.vml"/><Relationship Id="rId6" Type="http://schemas.openxmlformats.org/officeDocument/2006/relationships/image" Target="../media/image30.emf"/><Relationship Id="rId5" Type="http://schemas.openxmlformats.org/officeDocument/2006/relationships/oleObject" Target="../embeddings/oleObject66.bin"/><Relationship Id="rId4"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31.png"/><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5.png"/><Relationship Id="rId2" Type="http://schemas.openxmlformats.org/officeDocument/2006/relationships/tags" Target="../tags/tag93.xml"/><Relationship Id="rId1" Type="http://schemas.openxmlformats.org/officeDocument/2006/relationships/vmlDrawing" Target="../drawings/vmlDrawing71.vml"/><Relationship Id="rId6" Type="http://schemas.openxmlformats.org/officeDocument/2006/relationships/image" Target="../media/image31.png"/><Relationship Id="rId5" Type="http://schemas.openxmlformats.org/officeDocument/2006/relationships/image" Target="../media/image24.emf"/><Relationship Id="rId4" Type="http://schemas.openxmlformats.org/officeDocument/2006/relationships/oleObject" Target="../embeddings/oleObject71.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4.xml"/><Relationship Id="rId1" Type="http://schemas.openxmlformats.org/officeDocument/2006/relationships/vmlDrawing" Target="../drawings/vmlDrawing72.vml"/><Relationship Id="rId6" Type="http://schemas.openxmlformats.org/officeDocument/2006/relationships/image" Target="../media/image46.png"/><Relationship Id="rId5" Type="http://schemas.openxmlformats.org/officeDocument/2006/relationships/image" Target="../media/image24.emf"/><Relationship Id="rId4" Type="http://schemas.openxmlformats.org/officeDocument/2006/relationships/oleObject" Target="../embeddings/oleObject72.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5.xml"/><Relationship Id="rId1" Type="http://schemas.openxmlformats.org/officeDocument/2006/relationships/vmlDrawing" Target="../drawings/vmlDrawing73.vml"/><Relationship Id="rId6" Type="http://schemas.openxmlformats.org/officeDocument/2006/relationships/image" Target="../media/image47.png"/><Relationship Id="rId5" Type="http://schemas.openxmlformats.org/officeDocument/2006/relationships/image" Target="../media/image24.emf"/><Relationship Id="rId4" Type="http://schemas.openxmlformats.org/officeDocument/2006/relationships/oleObject" Target="../embeddings/oleObject73.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6.xml"/><Relationship Id="rId1" Type="http://schemas.openxmlformats.org/officeDocument/2006/relationships/vmlDrawing" Target="../drawings/vmlDrawing74.vml"/><Relationship Id="rId6" Type="http://schemas.openxmlformats.org/officeDocument/2006/relationships/image" Target="../media/image48.png"/><Relationship Id="rId5" Type="http://schemas.openxmlformats.org/officeDocument/2006/relationships/image" Target="../media/image24.emf"/><Relationship Id="rId4" Type="http://schemas.openxmlformats.org/officeDocument/2006/relationships/oleObject" Target="../embeddings/oleObject74.bin"/></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emf"/><Relationship Id="rId2" Type="http://schemas.openxmlformats.org/officeDocument/2006/relationships/tags" Target="../tags/tag85.xml"/><Relationship Id="rId1" Type="http://schemas.openxmlformats.org/officeDocument/2006/relationships/vmlDrawing" Target="../drawings/vmlDrawing67.vml"/><Relationship Id="rId6" Type="http://schemas.openxmlformats.org/officeDocument/2006/relationships/image" Target="../media/image30.emf"/><Relationship Id="rId5" Type="http://schemas.openxmlformats.org/officeDocument/2006/relationships/oleObject" Target="../embeddings/oleObject67.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6.emf"/><Relationship Id="rId2" Type="http://schemas.openxmlformats.org/officeDocument/2006/relationships/tags" Target="../tags/tag87.xml"/><Relationship Id="rId1" Type="http://schemas.openxmlformats.org/officeDocument/2006/relationships/vmlDrawing" Target="../drawings/vmlDrawing68.vml"/><Relationship Id="rId6" Type="http://schemas.openxmlformats.org/officeDocument/2006/relationships/image" Target="../media/image30.emf"/><Relationship Id="rId5" Type="http://schemas.openxmlformats.org/officeDocument/2006/relationships/oleObject" Target="../embeddings/oleObject68.bin"/><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69539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878" name="Diapositiva de think-cell" r:id="rId4" imgW="415" imgH="416" progId="TCLayout.ActiveDocument.1">
                  <p:embed/>
                </p:oleObj>
              </mc:Choice>
              <mc:Fallback>
                <p:oleObj name="Diapositiva de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p:nvPr/>
        </p:nvSpPr>
        <p:spPr>
          <a:xfrm>
            <a:off x="1272602" y="3974461"/>
            <a:ext cx="3943288" cy="382156"/>
          </a:xfrm>
          <a:prstGeom prst="rect">
            <a:avLst/>
          </a:prstGeom>
        </p:spPr>
        <p:txBody>
          <a:bodyPr vert="horz" wrap="square" lIns="0" tIns="12700" rIns="0" bIns="0" rtlCol="0">
            <a:spAutoFit/>
          </a:bodyPr>
          <a:lstStyle/>
          <a:p>
            <a:pPr marL="12700">
              <a:lnSpc>
                <a:spcPct val="100000"/>
              </a:lnSpc>
              <a:spcBef>
                <a:spcPts val="100"/>
              </a:spcBef>
            </a:pPr>
            <a:r>
              <a:rPr sz="2400" b="1" dirty="0">
                <a:solidFill>
                  <a:schemeClr val="bg1">
                    <a:lumMod val="85000"/>
                  </a:schemeClr>
                </a:solidFill>
                <a:latin typeface="Tahoma"/>
                <a:cs typeface="Tahoma"/>
              </a:rPr>
              <a:t>DIFUSIÓN INTERNA</a:t>
            </a:r>
            <a:endParaRPr sz="2400" dirty="0">
              <a:solidFill>
                <a:schemeClr val="bg1">
                  <a:lumMod val="85000"/>
                </a:schemeClr>
              </a:solidFill>
              <a:latin typeface="Tahoma"/>
              <a:cs typeface="Tahoma"/>
            </a:endParaRPr>
          </a:p>
        </p:txBody>
      </p:sp>
      <p:pic>
        <p:nvPicPr>
          <p:cNvPr id="9" name="object 9"/>
          <p:cNvPicPr/>
          <p:nvPr/>
        </p:nvPicPr>
        <p:blipFill>
          <a:blip r:embed="rId6" cstate="print"/>
          <a:stretch>
            <a:fillRect/>
          </a:stretch>
        </p:blipFill>
        <p:spPr>
          <a:xfrm>
            <a:off x="7084866" y="4419876"/>
            <a:ext cx="125806" cy="199339"/>
          </a:xfrm>
          <a:prstGeom prst="rect">
            <a:avLst/>
          </a:prstGeom>
        </p:spPr>
      </p:pic>
      <p:pic>
        <p:nvPicPr>
          <p:cNvPr id="10" name="object 10"/>
          <p:cNvPicPr/>
          <p:nvPr/>
        </p:nvPicPr>
        <p:blipFill>
          <a:blip r:embed="rId7" cstate="print"/>
          <a:stretch>
            <a:fillRect/>
          </a:stretch>
        </p:blipFill>
        <p:spPr>
          <a:xfrm>
            <a:off x="7253990" y="4990198"/>
            <a:ext cx="604053" cy="1305839"/>
          </a:xfrm>
          <a:prstGeom prst="rect">
            <a:avLst/>
          </a:prstGeom>
        </p:spPr>
      </p:pic>
      <p:pic>
        <p:nvPicPr>
          <p:cNvPr id="11" name="object 11"/>
          <p:cNvPicPr/>
          <p:nvPr/>
        </p:nvPicPr>
        <p:blipFill>
          <a:blip r:embed="rId8" cstate="print"/>
          <a:stretch>
            <a:fillRect/>
          </a:stretch>
        </p:blipFill>
        <p:spPr>
          <a:xfrm>
            <a:off x="10609121" y="4990198"/>
            <a:ext cx="604057" cy="1305839"/>
          </a:xfrm>
          <a:prstGeom prst="rect">
            <a:avLst/>
          </a:prstGeom>
        </p:spPr>
      </p:pic>
      <p:pic>
        <p:nvPicPr>
          <p:cNvPr id="12" name="object 12"/>
          <p:cNvPicPr/>
          <p:nvPr/>
        </p:nvPicPr>
        <p:blipFill>
          <a:blip r:embed="rId9" cstate="print"/>
          <a:stretch>
            <a:fillRect/>
          </a:stretch>
        </p:blipFill>
        <p:spPr>
          <a:xfrm>
            <a:off x="10539107" y="4826571"/>
            <a:ext cx="809790" cy="107302"/>
          </a:xfrm>
          <a:prstGeom prst="rect">
            <a:avLst/>
          </a:prstGeom>
        </p:spPr>
      </p:pic>
      <p:pic>
        <p:nvPicPr>
          <p:cNvPr id="47" name="Imagen 46">
            <a:extLst>
              <a:ext uri="{FF2B5EF4-FFF2-40B4-BE49-F238E27FC236}">
                <a16:creationId xmlns="" xmlns:a16="http://schemas.microsoft.com/office/drawing/2014/main" id="{2C0CEF44-CC16-E14F-A9BE-7D88610F0C2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394960" y="3348599"/>
            <a:ext cx="6888480" cy="3509401"/>
          </a:xfrm>
          <a:prstGeom prst="rect">
            <a:avLst/>
          </a:prstGeom>
        </p:spPr>
      </p:pic>
      <p:sp>
        <p:nvSpPr>
          <p:cNvPr id="14" name="Marcador de texto 13"/>
          <p:cNvSpPr>
            <a:spLocks noGrp="1"/>
          </p:cNvSpPr>
          <p:nvPr>
            <p:ph type="body" sz="quarter" idx="17"/>
          </p:nvPr>
        </p:nvSpPr>
        <p:spPr>
          <a:xfrm>
            <a:off x="1181162" y="1590584"/>
            <a:ext cx="9953528" cy="2229576"/>
          </a:xfrm>
        </p:spPr>
        <p:txBody>
          <a:bodyPr/>
          <a:lstStyle/>
          <a:p>
            <a:r>
              <a:rPr lang="es-CL" sz="3600" b="1" dirty="0" smtClean="0"/>
              <a:t>Actualización Protocolo de Vigilancia de Trabajadores Expuestos a Factores de Riesgo de Trastornos Musculoesqueléticos </a:t>
            </a:r>
            <a:r>
              <a:rPr lang="es-CL" sz="3600" b="1" dirty="0"/>
              <a:t>(TMERT</a:t>
            </a:r>
            <a:r>
              <a:rPr lang="es-CL" sz="3600" b="1" dirty="0" smtClean="0"/>
              <a:t>)</a:t>
            </a:r>
            <a:endParaRPr lang="es-CL" sz="4800" dirty="0"/>
          </a:p>
        </p:txBody>
      </p:sp>
    </p:spTree>
    <p:extLst>
      <p:ext uri="{BB962C8B-B14F-4D97-AF65-F5344CB8AC3E}">
        <p14:creationId xmlns:p14="http://schemas.microsoft.com/office/powerpoint/2010/main" val="3031964022"/>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Responsabilidades</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xmlns="" id="{4823C2CD-9549-C071-556A-6E2790CD38B9}"/>
              </a:ext>
            </a:extLst>
          </p:cNvPr>
          <p:cNvSpPr txBox="1">
            <a:spLocks/>
          </p:cNvSpPr>
          <p:nvPr/>
        </p:nvSpPr>
        <p:spPr>
          <a:xfrm>
            <a:off x="436563" y="116149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b="1" dirty="0">
                <a:solidFill>
                  <a:srgbClr val="006D36"/>
                </a:solidFill>
              </a:rPr>
              <a:t>OAL</a:t>
            </a:r>
            <a:endParaRPr lang="es-CL" b="1" dirty="0">
              <a:solidFill>
                <a:srgbClr val="006D36"/>
              </a:solidFill>
            </a:endParaRPr>
          </a:p>
        </p:txBody>
      </p:sp>
      <p:grpSp>
        <p:nvGrpSpPr>
          <p:cNvPr id="5" name="object 5">
            <a:extLst>
              <a:ext uri="{FF2B5EF4-FFF2-40B4-BE49-F238E27FC236}">
                <a16:creationId xmlns:a16="http://schemas.microsoft.com/office/drawing/2014/main" xmlns="" id="{9CA0E79B-F72F-A2F4-1994-2ADA5305C1CF}"/>
              </a:ext>
            </a:extLst>
          </p:cNvPr>
          <p:cNvGrpSpPr/>
          <p:nvPr/>
        </p:nvGrpSpPr>
        <p:grpSpPr>
          <a:xfrm>
            <a:off x="7332617" y="1204677"/>
            <a:ext cx="4216453" cy="5051323"/>
            <a:chOff x="6504474" y="486498"/>
            <a:chExt cx="5689053" cy="6093190"/>
          </a:xfrm>
        </p:grpSpPr>
        <p:sp>
          <p:nvSpPr>
            <p:cNvPr id="6" name="object 6">
              <a:extLst>
                <a:ext uri="{FF2B5EF4-FFF2-40B4-BE49-F238E27FC236}">
                  <a16:creationId xmlns:a16="http://schemas.microsoft.com/office/drawing/2014/main" xmlns="" id="{70FB4D64-5BA1-7E51-62EE-D8AEA33F9A62}"/>
                </a:ext>
              </a:extLst>
            </p:cNvPr>
            <p:cNvSpPr/>
            <p:nvPr/>
          </p:nvSpPr>
          <p:spPr>
            <a:xfrm>
              <a:off x="6604892" y="1036269"/>
              <a:ext cx="5588635" cy="5528945"/>
            </a:xfrm>
            <a:custGeom>
              <a:avLst/>
              <a:gdLst/>
              <a:ahLst/>
              <a:cxnLst/>
              <a:rect l="l" t="t" r="r" b="b"/>
              <a:pathLst>
                <a:path w="5588634" h="5528945">
                  <a:moveTo>
                    <a:pt x="5409585" y="0"/>
                  </a:moveTo>
                  <a:lnTo>
                    <a:pt x="5334227" y="1573"/>
                  </a:lnTo>
                  <a:lnTo>
                    <a:pt x="5258556" y="5904"/>
                  </a:lnTo>
                  <a:lnTo>
                    <a:pt x="5182548" y="12779"/>
                  </a:lnTo>
                  <a:lnTo>
                    <a:pt x="5144410" y="17103"/>
                  </a:lnTo>
                  <a:lnTo>
                    <a:pt x="5106179" y="21983"/>
                  </a:lnTo>
                  <a:lnTo>
                    <a:pt x="5067851" y="27392"/>
                  </a:lnTo>
                  <a:lnTo>
                    <a:pt x="5029424" y="33303"/>
                  </a:lnTo>
                  <a:lnTo>
                    <a:pt x="4990894" y="39690"/>
                  </a:lnTo>
                  <a:lnTo>
                    <a:pt x="4952259" y="46524"/>
                  </a:lnTo>
                  <a:lnTo>
                    <a:pt x="4913515" y="53781"/>
                  </a:lnTo>
                  <a:lnTo>
                    <a:pt x="4874659" y="61432"/>
                  </a:lnTo>
                  <a:lnTo>
                    <a:pt x="4835689" y="69452"/>
                  </a:lnTo>
                  <a:lnTo>
                    <a:pt x="4796600" y="77813"/>
                  </a:lnTo>
                  <a:lnTo>
                    <a:pt x="4718058" y="95453"/>
                  </a:lnTo>
                  <a:lnTo>
                    <a:pt x="4639007" y="114136"/>
                  </a:lnTo>
                  <a:lnTo>
                    <a:pt x="4519425" y="143652"/>
                  </a:lnTo>
                  <a:lnTo>
                    <a:pt x="4235278" y="215726"/>
                  </a:lnTo>
                  <a:lnTo>
                    <a:pt x="4152665" y="236179"/>
                  </a:lnTo>
                  <a:lnTo>
                    <a:pt x="4069374" y="256177"/>
                  </a:lnTo>
                  <a:lnTo>
                    <a:pt x="3985378" y="275506"/>
                  </a:lnTo>
                  <a:lnTo>
                    <a:pt x="3943109" y="284852"/>
                  </a:lnTo>
                  <a:lnTo>
                    <a:pt x="3900654" y="293952"/>
                  </a:lnTo>
                  <a:lnTo>
                    <a:pt x="3858012" y="302776"/>
                  </a:lnTo>
                  <a:lnTo>
                    <a:pt x="3815178" y="311300"/>
                  </a:lnTo>
                  <a:lnTo>
                    <a:pt x="3772150" y="319496"/>
                  </a:lnTo>
                  <a:lnTo>
                    <a:pt x="3728925" y="327337"/>
                  </a:lnTo>
                  <a:lnTo>
                    <a:pt x="3685499" y="334796"/>
                  </a:lnTo>
                  <a:lnTo>
                    <a:pt x="3641870" y="341848"/>
                  </a:lnTo>
                  <a:lnTo>
                    <a:pt x="3598034" y="348464"/>
                  </a:lnTo>
                  <a:lnTo>
                    <a:pt x="3553989" y="354619"/>
                  </a:lnTo>
                  <a:lnTo>
                    <a:pt x="3509731" y="360285"/>
                  </a:lnTo>
                  <a:lnTo>
                    <a:pt x="3465257" y="365436"/>
                  </a:lnTo>
                  <a:lnTo>
                    <a:pt x="3420565" y="370045"/>
                  </a:lnTo>
                  <a:lnTo>
                    <a:pt x="3375651" y="374085"/>
                  </a:lnTo>
                  <a:lnTo>
                    <a:pt x="3330512" y="377529"/>
                  </a:lnTo>
                  <a:lnTo>
                    <a:pt x="3285145" y="380351"/>
                  </a:lnTo>
                  <a:lnTo>
                    <a:pt x="3239547" y="382524"/>
                  </a:lnTo>
                  <a:lnTo>
                    <a:pt x="3193715" y="384021"/>
                  </a:lnTo>
                  <a:lnTo>
                    <a:pt x="3147646" y="384815"/>
                  </a:lnTo>
                  <a:lnTo>
                    <a:pt x="3101337" y="384880"/>
                  </a:lnTo>
                  <a:lnTo>
                    <a:pt x="3054785" y="384188"/>
                  </a:lnTo>
                  <a:lnTo>
                    <a:pt x="3007986" y="382714"/>
                  </a:lnTo>
                  <a:lnTo>
                    <a:pt x="2960938" y="380429"/>
                  </a:lnTo>
                  <a:lnTo>
                    <a:pt x="2913638" y="377308"/>
                  </a:lnTo>
                  <a:lnTo>
                    <a:pt x="2866082" y="373324"/>
                  </a:lnTo>
                  <a:lnTo>
                    <a:pt x="2818268" y="368450"/>
                  </a:lnTo>
                  <a:lnTo>
                    <a:pt x="2770192" y="362658"/>
                  </a:lnTo>
                  <a:lnTo>
                    <a:pt x="2721852" y="355923"/>
                  </a:lnTo>
                  <a:lnTo>
                    <a:pt x="2673244" y="348218"/>
                  </a:lnTo>
                  <a:lnTo>
                    <a:pt x="2624366" y="339516"/>
                  </a:lnTo>
                  <a:lnTo>
                    <a:pt x="2575213" y="329789"/>
                  </a:lnTo>
                  <a:lnTo>
                    <a:pt x="2525784" y="319012"/>
                  </a:lnTo>
                  <a:lnTo>
                    <a:pt x="2476075" y="307157"/>
                  </a:lnTo>
                  <a:lnTo>
                    <a:pt x="2426083" y="294198"/>
                  </a:lnTo>
                  <a:lnTo>
                    <a:pt x="2375804" y="280108"/>
                  </a:lnTo>
                  <a:lnTo>
                    <a:pt x="2325237" y="264860"/>
                  </a:lnTo>
                  <a:lnTo>
                    <a:pt x="2220767" y="231167"/>
                  </a:lnTo>
                  <a:lnTo>
                    <a:pt x="2167933" y="215440"/>
                  </a:lnTo>
                  <a:lnTo>
                    <a:pt x="2115879" y="201225"/>
                  </a:lnTo>
                  <a:lnTo>
                    <a:pt x="2064606" y="188501"/>
                  </a:lnTo>
                  <a:lnTo>
                    <a:pt x="2014117" y="177245"/>
                  </a:lnTo>
                  <a:lnTo>
                    <a:pt x="1964415" y="167437"/>
                  </a:lnTo>
                  <a:lnTo>
                    <a:pt x="1915503" y="159055"/>
                  </a:lnTo>
                  <a:lnTo>
                    <a:pt x="1867384" y="152078"/>
                  </a:lnTo>
                  <a:lnTo>
                    <a:pt x="1820059" y="146485"/>
                  </a:lnTo>
                  <a:lnTo>
                    <a:pt x="1773532" y="142253"/>
                  </a:lnTo>
                  <a:lnTo>
                    <a:pt x="1727805" y="139362"/>
                  </a:lnTo>
                  <a:lnTo>
                    <a:pt x="1682881" y="137790"/>
                  </a:lnTo>
                  <a:lnTo>
                    <a:pt x="1638762" y="137516"/>
                  </a:lnTo>
                  <a:lnTo>
                    <a:pt x="1595451" y="138518"/>
                  </a:lnTo>
                  <a:lnTo>
                    <a:pt x="1552951" y="140776"/>
                  </a:lnTo>
                  <a:lnTo>
                    <a:pt x="1511265" y="144266"/>
                  </a:lnTo>
                  <a:lnTo>
                    <a:pt x="1470394" y="148969"/>
                  </a:lnTo>
                  <a:lnTo>
                    <a:pt x="1430342" y="154863"/>
                  </a:lnTo>
                  <a:lnTo>
                    <a:pt x="1391111" y="161926"/>
                  </a:lnTo>
                  <a:lnTo>
                    <a:pt x="1352704" y="170137"/>
                  </a:lnTo>
                  <a:lnTo>
                    <a:pt x="1315123" y="179475"/>
                  </a:lnTo>
                  <a:lnTo>
                    <a:pt x="1278372" y="189917"/>
                  </a:lnTo>
                  <a:lnTo>
                    <a:pt x="1207367" y="214033"/>
                  </a:lnTo>
                  <a:lnTo>
                    <a:pt x="1139710" y="242311"/>
                  </a:lnTo>
                  <a:lnTo>
                    <a:pt x="1075422" y="274583"/>
                  </a:lnTo>
                  <a:lnTo>
                    <a:pt x="1014524" y="310676"/>
                  </a:lnTo>
                  <a:lnTo>
                    <a:pt x="957037" y="350418"/>
                  </a:lnTo>
                  <a:lnTo>
                    <a:pt x="902982" y="393640"/>
                  </a:lnTo>
                  <a:lnTo>
                    <a:pt x="852380" y="440169"/>
                  </a:lnTo>
                  <a:lnTo>
                    <a:pt x="805253" y="489835"/>
                  </a:lnTo>
                  <a:lnTo>
                    <a:pt x="761621" y="542465"/>
                  </a:lnTo>
                  <a:lnTo>
                    <a:pt x="721505" y="597890"/>
                  </a:lnTo>
                  <a:lnTo>
                    <a:pt x="684926" y="655937"/>
                  </a:lnTo>
                  <a:lnTo>
                    <a:pt x="651906" y="716436"/>
                  </a:lnTo>
                  <a:lnTo>
                    <a:pt x="622465" y="779215"/>
                  </a:lnTo>
                  <a:lnTo>
                    <a:pt x="596624" y="844103"/>
                  </a:lnTo>
                  <a:lnTo>
                    <a:pt x="574405" y="910929"/>
                  </a:lnTo>
                  <a:lnTo>
                    <a:pt x="555828" y="979521"/>
                  </a:lnTo>
                  <a:lnTo>
                    <a:pt x="540915" y="1049709"/>
                  </a:lnTo>
                  <a:lnTo>
                    <a:pt x="529687" y="1121321"/>
                  </a:lnTo>
                  <a:lnTo>
                    <a:pt x="522164" y="1194185"/>
                  </a:lnTo>
                  <a:lnTo>
                    <a:pt x="518367" y="1268132"/>
                  </a:lnTo>
                  <a:lnTo>
                    <a:pt x="517873" y="1305457"/>
                  </a:lnTo>
                  <a:lnTo>
                    <a:pt x="518318" y="1342989"/>
                  </a:lnTo>
                  <a:lnTo>
                    <a:pt x="522038" y="1418585"/>
                  </a:lnTo>
                  <a:lnTo>
                    <a:pt x="525318" y="1456606"/>
                  </a:lnTo>
                  <a:lnTo>
                    <a:pt x="529548" y="1494749"/>
                  </a:lnTo>
                  <a:lnTo>
                    <a:pt x="534730" y="1532990"/>
                  </a:lnTo>
                  <a:lnTo>
                    <a:pt x="540868" y="1571309"/>
                  </a:lnTo>
                  <a:lnTo>
                    <a:pt x="547964" y="1609685"/>
                  </a:lnTo>
                  <a:lnTo>
                    <a:pt x="556020" y="1648096"/>
                  </a:lnTo>
                  <a:lnTo>
                    <a:pt x="565040" y="1686520"/>
                  </a:lnTo>
                  <a:lnTo>
                    <a:pt x="575025" y="1724936"/>
                  </a:lnTo>
                  <a:lnTo>
                    <a:pt x="585979" y="1763323"/>
                  </a:lnTo>
                  <a:lnTo>
                    <a:pt x="597904" y="1801660"/>
                  </a:lnTo>
                  <a:lnTo>
                    <a:pt x="610803" y="1839924"/>
                  </a:lnTo>
                  <a:lnTo>
                    <a:pt x="624678" y="1878095"/>
                  </a:lnTo>
                  <a:lnTo>
                    <a:pt x="639532" y="1916152"/>
                  </a:lnTo>
                  <a:lnTo>
                    <a:pt x="655368" y="1954072"/>
                  </a:lnTo>
                  <a:lnTo>
                    <a:pt x="672187" y="1991834"/>
                  </a:lnTo>
                  <a:lnTo>
                    <a:pt x="689994" y="2029417"/>
                  </a:lnTo>
                  <a:lnTo>
                    <a:pt x="708790" y="2066800"/>
                  </a:lnTo>
                  <a:lnTo>
                    <a:pt x="728579" y="2103961"/>
                  </a:lnTo>
                  <a:lnTo>
                    <a:pt x="749362" y="2140878"/>
                  </a:lnTo>
                  <a:lnTo>
                    <a:pt x="784370" y="2200113"/>
                  </a:lnTo>
                  <a:lnTo>
                    <a:pt x="796332" y="2222408"/>
                  </a:lnTo>
                  <a:lnTo>
                    <a:pt x="816566" y="2266183"/>
                  </a:lnTo>
                  <a:lnTo>
                    <a:pt x="832055" y="2308957"/>
                  </a:lnTo>
                  <a:lnTo>
                    <a:pt x="843013" y="2350828"/>
                  </a:lnTo>
                  <a:lnTo>
                    <a:pt x="849651" y="2391898"/>
                  </a:lnTo>
                  <a:lnTo>
                    <a:pt x="852183" y="2432264"/>
                  </a:lnTo>
                  <a:lnTo>
                    <a:pt x="851975" y="2452215"/>
                  </a:lnTo>
                  <a:lnTo>
                    <a:pt x="848746" y="2491713"/>
                  </a:lnTo>
                  <a:lnTo>
                    <a:pt x="841940" y="2530757"/>
                  </a:lnTo>
                  <a:lnTo>
                    <a:pt x="831772" y="2569446"/>
                  </a:lnTo>
                  <a:lnTo>
                    <a:pt x="818452" y="2607879"/>
                  </a:lnTo>
                  <a:lnTo>
                    <a:pt x="802195" y="2646157"/>
                  </a:lnTo>
                  <a:lnTo>
                    <a:pt x="783212" y="2684378"/>
                  </a:lnTo>
                  <a:lnTo>
                    <a:pt x="761715" y="2722641"/>
                  </a:lnTo>
                  <a:lnTo>
                    <a:pt x="737918" y="2761048"/>
                  </a:lnTo>
                  <a:lnTo>
                    <a:pt x="712032" y="2799696"/>
                  </a:lnTo>
                  <a:lnTo>
                    <a:pt x="684271" y="2838685"/>
                  </a:lnTo>
                  <a:lnTo>
                    <a:pt x="654846" y="2878115"/>
                  </a:lnTo>
                  <a:lnTo>
                    <a:pt x="623969" y="2918086"/>
                  </a:lnTo>
                  <a:lnTo>
                    <a:pt x="472766" y="3107305"/>
                  </a:lnTo>
                  <a:lnTo>
                    <a:pt x="437707" y="3152024"/>
                  </a:lnTo>
                  <a:lnTo>
                    <a:pt x="402577" y="3197931"/>
                  </a:lnTo>
                  <a:lnTo>
                    <a:pt x="367590" y="3245123"/>
                  </a:lnTo>
                  <a:lnTo>
                    <a:pt x="332958" y="3293701"/>
                  </a:lnTo>
                  <a:lnTo>
                    <a:pt x="298892" y="3343764"/>
                  </a:lnTo>
                  <a:lnTo>
                    <a:pt x="265607" y="3395412"/>
                  </a:lnTo>
                  <a:lnTo>
                    <a:pt x="233314" y="3448744"/>
                  </a:lnTo>
                  <a:lnTo>
                    <a:pt x="202225" y="3503859"/>
                  </a:lnTo>
                  <a:lnTo>
                    <a:pt x="172553" y="3560857"/>
                  </a:lnTo>
                  <a:lnTo>
                    <a:pt x="144511" y="3619838"/>
                  </a:lnTo>
                  <a:lnTo>
                    <a:pt x="118311" y="3680900"/>
                  </a:lnTo>
                  <a:lnTo>
                    <a:pt x="94165" y="3744144"/>
                  </a:lnTo>
                  <a:lnTo>
                    <a:pt x="72286" y="3809669"/>
                  </a:lnTo>
                  <a:lnTo>
                    <a:pt x="52886" y="3877574"/>
                  </a:lnTo>
                  <a:lnTo>
                    <a:pt x="36178" y="3947958"/>
                  </a:lnTo>
                  <a:lnTo>
                    <a:pt x="22375" y="4020922"/>
                  </a:lnTo>
                  <a:lnTo>
                    <a:pt x="11688" y="4096564"/>
                  </a:lnTo>
                  <a:lnTo>
                    <a:pt x="7579" y="4135421"/>
                  </a:lnTo>
                  <a:lnTo>
                    <a:pt x="4330" y="4174985"/>
                  </a:lnTo>
                  <a:lnTo>
                    <a:pt x="1965" y="4215268"/>
                  </a:lnTo>
                  <a:lnTo>
                    <a:pt x="513" y="4256283"/>
                  </a:lnTo>
                  <a:lnTo>
                    <a:pt x="0" y="4298042"/>
                  </a:lnTo>
                  <a:lnTo>
                    <a:pt x="451" y="4340557"/>
                  </a:lnTo>
                  <a:lnTo>
                    <a:pt x="1894" y="4383842"/>
                  </a:lnTo>
                  <a:lnTo>
                    <a:pt x="4355" y="4427909"/>
                  </a:lnTo>
                  <a:lnTo>
                    <a:pt x="7861" y="4472769"/>
                  </a:lnTo>
                  <a:lnTo>
                    <a:pt x="12438" y="4518436"/>
                  </a:lnTo>
                  <a:lnTo>
                    <a:pt x="18113" y="4564922"/>
                  </a:lnTo>
                  <a:lnTo>
                    <a:pt x="24912" y="4612239"/>
                  </a:lnTo>
                  <a:lnTo>
                    <a:pt x="32863" y="4660400"/>
                  </a:lnTo>
                  <a:lnTo>
                    <a:pt x="41991" y="4709417"/>
                  </a:lnTo>
                  <a:lnTo>
                    <a:pt x="52322" y="4759302"/>
                  </a:lnTo>
                  <a:lnTo>
                    <a:pt x="63885" y="4810069"/>
                  </a:lnTo>
                  <a:lnTo>
                    <a:pt x="76705" y="4861729"/>
                  </a:lnTo>
                  <a:lnTo>
                    <a:pt x="90808" y="4914294"/>
                  </a:lnTo>
                  <a:lnTo>
                    <a:pt x="106222" y="4967779"/>
                  </a:lnTo>
                  <a:lnTo>
                    <a:pt x="122973" y="5022193"/>
                  </a:lnTo>
                  <a:lnTo>
                    <a:pt x="141087" y="5077551"/>
                  </a:lnTo>
                  <a:lnTo>
                    <a:pt x="160591" y="5133865"/>
                  </a:lnTo>
                  <a:lnTo>
                    <a:pt x="181511" y="5191147"/>
                  </a:lnTo>
                  <a:lnTo>
                    <a:pt x="203875" y="5249409"/>
                  </a:lnTo>
                  <a:lnTo>
                    <a:pt x="227708" y="5308664"/>
                  </a:lnTo>
                  <a:lnTo>
                    <a:pt x="253037" y="5368924"/>
                  </a:lnTo>
                  <a:lnTo>
                    <a:pt x="279889" y="5430203"/>
                  </a:lnTo>
                  <a:lnTo>
                    <a:pt x="308291" y="5492511"/>
                  </a:lnTo>
                  <a:lnTo>
                    <a:pt x="5588300" y="5528419"/>
                  </a:lnTo>
                  <a:lnTo>
                    <a:pt x="5588300" y="8730"/>
                  </a:lnTo>
                  <a:lnTo>
                    <a:pt x="5559464" y="5983"/>
                  </a:lnTo>
                  <a:lnTo>
                    <a:pt x="5522091" y="3279"/>
                  </a:lnTo>
                  <a:lnTo>
                    <a:pt x="5484656" y="1398"/>
                  </a:lnTo>
                  <a:lnTo>
                    <a:pt x="5447155" y="314"/>
                  </a:lnTo>
                  <a:lnTo>
                    <a:pt x="5409585" y="0"/>
                  </a:lnTo>
                  <a:close/>
                </a:path>
              </a:pathLst>
            </a:custGeom>
            <a:solidFill>
              <a:srgbClr val="FFFFFF"/>
            </a:solidFill>
          </p:spPr>
          <p:txBody>
            <a:bodyPr wrap="square" lIns="0" tIns="0" rIns="0" bIns="0" rtlCol="0"/>
            <a:lstStyle/>
            <a:p>
              <a:endParaRPr/>
            </a:p>
          </p:txBody>
        </p:sp>
        <p:sp>
          <p:nvSpPr>
            <p:cNvPr id="7" name="object 7">
              <a:extLst>
                <a:ext uri="{FF2B5EF4-FFF2-40B4-BE49-F238E27FC236}">
                  <a16:creationId xmlns:a16="http://schemas.microsoft.com/office/drawing/2014/main" xmlns="" id="{0376446F-9245-357D-46A0-C5A1AB8DF67C}"/>
                </a:ext>
              </a:extLst>
            </p:cNvPr>
            <p:cNvSpPr/>
            <p:nvPr/>
          </p:nvSpPr>
          <p:spPr>
            <a:xfrm>
              <a:off x="6504474" y="6527619"/>
              <a:ext cx="5688965" cy="52069"/>
            </a:xfrm>
            <a:custGeom>
              <a:avLst/>
              <a:gdLst/>
              <a:ahLst/>
              <a:cxnLst/>
              <a:rect l="l" t="t" r="r" b="b"/>
              <a:pathLst>
                <a:path w="5688965" h="52070">
                  <a:moveTo>
                    <a:pt x="5688719" y="0"/>
                  </a:moveTo>
                  <a:lnTo>
                    <a:pt x="25819" y="0"/>
                  </a:lnTo>
                  <a:lnTo>
                    <a:pt x="15794" y="2037"/>
                  </a:lnTo>
                  <a:lnTo>
                    <a:pt x="7585" y="7585"/>
                  </a:lnTo>
                  <a:lnTo>
                    <a:pt x="2037" y="15794"/>
                  </a:lnTo>
                  <a:lnTo>
                    <a:pt x="0" y="25819"/>
                  </a:lnTo>
                  <a:lnTo>
                    <a:pt x="2037" y="35843"/>
                  </a:lnTo>
                  <a:lnTo>
                    <a:pt x="7585" y="44053"/>
                  </a:lnTo>
                  <a:lnTo>
                    <a:pt x="15794" y="49600"/>
                  </a:lnTo>
                  <a:lnTo>
                    <a:pt x="25819" y="51638"/>
                  </a:lnTo>
                  <a:lnTo>
                    <a:pt x="5688719" y="51638"/>
                  </a:lnTo>
                  <a:lnTo>
                    <a:pt x="5688719" y="0"/>
                  </a:lnTo>
                  <a:close/>
                </a:path>
              </a:pathLst>
            </a:custGeom>
            <a:solidFill>
              <a:srgbClr val="263252"/>
            </a:solidFill>
          </p:spPr>
          <p:txBody>
            <a:bodyPr wrap="square" lIns="0" tIns="0" rIns="0" bIns="0" rtlCol="0"/>
            <a:lstStyle/>
            <a:p>
              <a:endParaRPr/>
            </a:p>
          </p:txBody>
        </p:sp>
        <p:sp>
          <p:nvSpPr>
            <p:cNvPr id="10" name="object 8">
              <a:extLst>
                <a:ext uri="{FF2B5EF4-FFF2-40B4-BE49-F238E27FC236}">
                  <a16:creationId xmlns:a16="http://schemas.microsoft.com/office/drawing/2014/main" xmlns="" id="{A045AF79-B3F7-1EBA-1CF6-A91EB2E91BFF}"/>
                </a:ext>
              </a:extLst>
            </p:cNvPr>
            <p:cNvSpPr/>
            <p:nvPr/>
          </p:nvSpPr>
          <p:spPr>
            <a:xfrm>
              <a:off x="7909776" y="2048535"/>
              <a:ext cx="993775" cy="2235200"/>
            </a:xfrm>
            <a:custGeom>
              <a:avLst/>
              <a:gdLst/>
              <a:ahLst/>
              <a:cxnLst/>
              <a:rect l="l" t="t" r="r" b="b"/>
              <a:pathLst>
                <a:path w="993775" h="2235200">
                  <a:moveTo>
                    <a:pt x="993241" y="1995817"/>
                  </a:moveTo>
                  <a:lnTo>
                    <a:pt x="791794" y="0"/>
                  </a:lnTo>
                  <a:lnTo>
                    <a:pt x="787971" y="406"/>
                  </a:lnTo>
                  <a:lnTo>
                    <a:pt x="740244" y="15532"/>
                  </a:lnTo>
                  <a:lnTo>
                    <a:pt x="703211" y="47028"/>
                  </a:lnTo>
                  <a:lnTo>
                    <a:pt x="680466" y="90373"/>
                  </a:lnTo>
                  <a:lnTo>
                    <a:pt x="675640" y="141046"/>
                  </a:lnTo>
                  <a:lnTo>
                    <a:pt x="735342" y="732650"/>
                  </a:lnTo>
                  <a:lnTo>
                    <a:pt x="721652" y="736396"/>
                  </a:lnTo>
                  <a:lnTo>
                    <a:pt x="681901" y="762914"/>
                  </a:lnTo>
                  <a:lnTo>
                    <a:pt x="652195" y="800112"/>
                  </a:lnTo>
                  <a:lnTo>
                    <a:pt x="634796" y="845146"/>
                  </a:lnTo>
                  <a:lnTo>
                    <a:pt x="631977" y="895210"/>
                  </a:lnTo>
                  <a:lnTo>
                    <a:pt x="637717" y="952106"/>
                  </a:lnTo>
                  <a:lnTo>
                    <a:pt x="630872" y="949820"/>
                  </a:lnTo>
                  <a:lnTo>
                    <a:pt x="351993" y="1785302"/>
                  </a:lnTo>
                  <a:lnTo>
                    <a:pt x="340182" y="1830870"/>
                  </a:lnTo>
                  <a:lnTo>
                    <a:pt x="334708" y="1877123"/>
                  </a:lnTo>
                  <a:lnTo>
                    <a:pt x="335483" y="1923427"/>
                  </a:lnTo>
                  <a:lnTo>
                    <a:pt x="342392" y="1969109"/>
                  </a:lnTo>
                  <a:lnTo>
                    <a:pt x="355346" y="2013508"/>
                  </a:lnTo>
                  <a:lnTo>
                    <a:pt x="374230" y="2055964"/>
                  </a:lnTo>
                  <a:lnTo>
                    <a:pt x="398970" y="2095817"/>
                  </a:lnTo>
                  <a:lnTo>
                    <a:pt x="412229" y="2111540"/>
                  </a:lnTo>
                  <a:lnTo>
                    <a:pt x="37934" y="2111540"/>
                  </a:lnTo>
                  <a:lnTo>
                    <a:pt x="23202" y="2114537"/>
                  </a:lnTo>
                  <a:lnTo>
                    <a:pt x="11137" y="2122690"/>
                  </a:lnTo>
                  <a:lnTo>
                    <a:pt x="2997" y="2134755"/>
                  </a:lnTo>
                  <a:lnTo>
                    <a:pt x="0" y="2149487"/>
                  </a:lnTo>
                  <a:lnTo>
                    <a:pt x="2997" y="2164219"/>
                  </a:lnTo>
                  <a:lnTo>
                    <a:pt x="11137" y="2176284"/>
                  </a:lnTo>
                  <a:lnTo>
                    <a:pt x="23202" y="2184438"/>
                  </a:lnTo>
                  <a:lnTo>
                    <a:pt x="37934" y="2187422"/>
                  </a:lnTo>
                  <a:lnTo>
                    <a:pt x="499364" y="2187422"/>
                  </a:lnTo>
                  <a:lnTo>
                    <a:pt x="517575" y="2198725"/>
                  </a:lnTo>
                  <a:lnTo>
                    <a:pt x="565429" y="2218740"/>
                  </a:lnTo>
                  <a:lnTo>
                    <a:pt x="616267" y="2231021"/>
                  </a:lnTo>
                  <a:lnTo>
                    <a:pt x="669391" y="2235187"/>
                  </a:lnTo>
                  <a:lnTo>
                    <a:pt x="871321" y="2235187"/>
                  </a:lnTo>
                  <a:lnTo>
                    <a:pt x="871321" y="2187422"/>
                  </a:lnTo>
                  <a:lnTo>
                    <a:pt x="892517" y="2187422"/>
                  </a:lnTo>
                  <a:lnTo>
                    <a:pt x="907249" y="2184438"/>
                  </a:lnTo>
                  <a:lnTo>
                    <a:pt x="919314" y="2176284"/>
                  </a:lnTo>
                  <a:lnTo>
                    <a:pt x="927468" y="2164219"/>
                  </a:lnTo>
                  <a:lnTo>
                    <a:pt x="930452" y="2149487"/>
                  </a:lnTo>
                  <a:lnTo>
                    <a:pt x="927468" y="2134755"/>
                  </a:lnTo>
                  <a:lnTo>
                    <a:pt x="919314" y="2122690"/>
                  </a:lnTo>
                  <a:lnTo>
                    <a:pt x="907249" y="2114537"/>
                  </a:lnTo>
                  <a:lnTo>
                    <a:pt x="892517" y="2111540"/>
                  </a:lnTo>
                  <a:lnTo>
                    <a:pt x="559485" y="2111540"/>
                  </a:lnTo>
                  <a:lnTo>
                    <a:pt x="541909" y="2102459"/>
                  </a:lnTo>
                  <a:lnTo>
                    <a:pt x="506653" y="2074697"/>
                  </a:lnTo>
                  <a:lnTo>
                    <a:pt x="476453" y="2040001"/>
                  </a:lnTo>
                  <a:lnTo>
                    <a:pt x="452310" y="1998878"/>
                  </a:lnTo>
                  <a:lnTo>
                    <a:pt x="436702" y="1954860"/>
                  </a:lnTo>
                  <a:lnTo>
                    <a:pt x="429780" y="1908949"/>
                  </a:lnTo>
                  <a:lnTo>
                    <a:pt x="431685" y="1862175"/>
                  </a:lnTo>
                  <a:lnTo>
                    <a:pt x="442582" y="1815541"/>
                  </a:lnTo>
                  <a:lnTo>
                    <a:pt x="663981" y="1152258"/>
                  </a:lnTo>
                  <a:lnTo>
                    <a:pt x="666915" y="1163383"/>
                  </a:lnTo>
                  <a:lnTo>
                    <a:pt x="692950" y="1203871"/>
                  </a:lnTo>
                  <a:lnTo>
                    <a:pt x="729462" y="1234135"/>
                  </a:lnTo>
                  <a:lnTo>
                    <a:pt x="773684" y="1251851"/>
                  </a:lnTo>
                  <a:lnTo>
                    <a:pt x="787844" y="1252689"/>
                  </a:lnTo>
                  <a:lnTo>
                    <a:pt x="851344" y="1881784"/>
                  </a:lnTo>
                  <a:lnTo>
                    <a:pt x="866190" y="1930400"/>
                  </a:lnTo>
                  <a:lnTo>
                    <a:pt x="897115" y="1968119"/>
                  </a:lnTo>
                  <a:lnTo>
                    <a:pt x="939660" y="1991283"/>
                  </a:lnTo>
                  <a:lnTo>
                    <a:pt x="989406" y="1996211"/>
                  </a:lnTo>
                  <a:lnTo>
                    <a:pt x="993241" y="1995817"/>
                  </a:lnTo>
                  <a:close/>
                </a:path>
              </a:pathLst>
            </a:custGeom>
            <a:solidFill>
              <a:srgbClr val="F7944A"/>
            </a:solidFill>
          </p:spPr>
          <p:txBody>
            <a:bodyPr wrap="square" lIns="0" tIns="0" rIns="0" bIns="0" rtlCol="0"/>
            <a:lstStyle/>
            <a:p>
              <a:endParaRPr/>
            </a:p>
          </p:txBody>
        </p:sp>
        <p:sp>
          <p:nvSpPr>
            <p:cNvPr id="12" name="object 9">
              <a:extLst>
                <a:ext uri="{FF2B5EF4-FFF2-40B4-BE49-F238E27FC236}">
                  <a16:creationId xmlns:a16="http://schemas.microsoft.com/office/drawing/2014/main" xmlns="" id="{E75AF31C-9B44-94A8-DF03-8DCD4C13377B}"/>
                </a:ext>
              </a:extLst>
            </p:cNvPr>
            <p:cNvSpPr/>
            <p:nvPr/>
          </p:nvSpPr>
          <p:spPr>
            <a:xfrm>
              <a:off x="7560640" y="4215713"/>
              <a:ext cx="2533650" cy="2312035"/>
            </a:xfrm>
            <a:custGeom>
              <a:avLst/>
              <a:gdLst/>
              <a:ahLst/>
              <a:cxnLst/>
              <a:rect l="l" t="t" r="r" b="b"/>
              <a:pathLst>
                <a:path w="2533650" h="2312034">
                  <a:moveTo>
                    <a:pt x="2533091" y="45313"/>
                  </a:moveTo>
                  <a:lnTo>
                    <a:pt x="2529560" y="27851"/>
                  </a:lnTo>
                  <a:lnTo>
                    <a:pt x="2519959" y="13589"/>
                  </a:lnTo>
                  <a:lnTo>
                    <a:pt x="2505697" y="3975"/>
                  </a:lnTo>
                  <a:lnTo>
                    <a:pt x="2488234" y="444"/>
                  </a:lnTo>
                  <a:lnTo>
                    <a:pt x="335521" y="444"/>
                  </a:lnTo>
                  <a:lnTo>
                    <a:pt x="326618" y="0"/>
                  </a:lnTo>
                  <a:lnTo>
                    <a:pt x="326097" y="444"/>
                  </a:lnTo>
                  <a:lnTo>
                    <a:pt x="44869" y="444"/>
                  </a:lnTo>
                  <a:lnTo>
                    <a:pt x="27406" y="3975"/>
                  </a:lnTo>
                  <a:lnTo>
                    <a:pt x="13144" y="13589"/>
                  </a:lnTo>
                  <a:lnTo>
                    <a:pt x="3530" y="27851"/>
                  </a:lnTo>
                  <a:lnTo>
                    <a:pt x="0" y="45313"/>
                  </a:lnTo>
                  <a:lnTo>
                    <a:pt x="3530" y="62776"/>
                  </a:lnTo>
                  <a:lnTo>
                    <a:pt x="13144" y="77025"/>
                  </a:lnTo>
                  <a:lnTo>
                    <a:pt x="27406" y="86639"/>
                  </a:lnTo>
                  <a:lnTo>
                    <a:pt x="44869" y="90170"/>
                  </a:lnTo>
                  <a:lnTo>
                    <a:pt x="314490" y="90170"/>
                  </a:lnTo>
                  <a:lnTo>
                    <a:pt x="194398" y="2311908"/>
                  </a:lnTo>
                  <a:lnTo>
                    <a:pt x="227164" y="2311908"/>
                  </a:lnTo>
                  <a:lnTo>
                    <a:pt x="973264" y="2311908"/>
                  </a:lnTo>
                  <a:lnTo>
                    <a:pt x="967905" y="2285377"/>
                  </a:lnTo>
                  <a:lnTo>
                    <a:pt x="953300" y="2263711"/>
                  </a:lnTo>
                  <a:lnTo>
                    <a:pt x="931633" y="2249106"/>
                  </a:lnTo>
                  <a:lnTo>
                    <a:pt x="905116" y="2243759"/>
                  </a:lnTo>
                  <a:lnTo>
                    <a:pt x="230835" y="2243759"/>
                  </a:lnTo>
                  <a:lnTo>
                    <a:pt x="347179" y="90170"/>
                  </a:lnTo>
                  <a:lnTo>
                    <a:pt x="2488234" y="90170"/>
                  </a:lnTo>
                  <a:lnTo>
                    <a:pt x="2505697" y="86639"/>
                  </a:lnTo>
                  <a:lnTo>
                    <a:pt x="2519959" y="77025"/>
                  </a:lnTo>
                  <a:lnTo>
                    <a:pt x="2529560" y="62776"/>
                  </a:lnTo>
                  <a:lnTo>
                    <a:pt x="2533091" y="45313"/>
                  </a:lnTo>
                  <a:close/>
                </a:path>
              </a:pathLst>
            </a:custGeom>
            <a:solidFill>
              <a:srgbClr val="203866"/>
            </a:solidFill>
          </p:spPr>
          <p:txBody>
            <a:bodyPr wrap="square" lIns="0" tIns="0" rIns="0" bIns="0" rtlCol="0"/>
            <a:lstStyle/>
            <a:p>
              <a:endParaRPr/>
            </a:p>
          </p:txBody>
        </p:sp>
        <p:pic>
          <p:nvPicPr>
            <p:cNvPr id="13" name="object 10">
              <a:extLst>
                <a:ext uri="{FF2B5EF4-FFF2-40B4-BE49-F238E27FC236}">
                  <a16:creationId xmlns:a16="http://schemas.microsoft.com/office/drawing/2014/main" xmlns="" id="{DF08FB54-E636-BB28-7C8B-5A608FF71994}"/>
                </a:ext>
              </a:extLst>
            </p:cNvPr>
            <p:cNvPicPr/>
            <p:nvPr/>
          </p:nvPicPr>
          <p:blipFill>
            <a:blip r:embed="rId3" cstate="print"/>
            <a:stretch>
              <a:fillRect/>
            </a:stretch>
          </p:blipFill>
          <p:spPr>
            <a:xfrm>
              <a:off x="8664910" y="2252562"/>
              <a:ext cx="2938543" cy="4276211"/>
            </a:xfrm>
            <a:prstGeom prst="rect">
              <a:avLst/>
            </a:prstGeom>
          </p:spPr>
        </p:pic>
        <p:sp>
          <p:nvSpPr>
            <p:cNvPr id="15" name="object 12">
              <a:extLst>
                <a:ext uri="{FF2B5EF4-FFF2-40B4-BE49-F238E27FC236}">
                  <a16:creationId xmlns:a16="http://schemas.microsoft.com/office/drawing/2014/main" xmlns="" id="{97AC5DCA-B1C2-66CE-FB1F-76100E0F6644}"/>
                </a:ext>
              </a:extLst>
            </p:cNvPr>
            <p:cNvSpPr/>
            <p:nvPr/>
          </p:nvSpPr>
          <p:spPr>
            <a:xfrm>
              <a:off x="10687507" y="486498"/>
              <a:ext cx="989330" cy="964565"/>
            </a:xfrm>
            <a:custGeom>
              <a:avLst/>
              <a:gdLst/>
              <a:ahLst/>
              <a:cxnLst/>
              <a:rect l="l" t="t" r="r" b="b"/>
              <a:pathLst>
                <a:path w="989329" h="964565">
                  <a:moveTo>
                    <a:pt x="0" y="0"/>
                  </a:moveTo>
                  <a:lnTo>
                    <a:pt x="988987" y="0"/>
                  </a:lnTo>
                  <a:lnTo>
                    <a:pt x="988987" y="964031"/>
                  </a:lnTo>
                  <a:lnTo>
                    <a:pt x="0" y="964031"/>
                  </a:lnTo>
                  <a:lnTo>
                    <a:pt x="0" y="0"/>
                  </a:lnTo>
                  <a:close/>
                </a:path>
              </a:pathLst>
            </a:custGeom>
            <a:ln w="25400">
              <a:solidFill>
                <a:srgbClr val="FFFFFF"/>
              </a:solidFill>
            </a:ln>
          </p:spPr>
          <p:txBody>
            <a:bodyPr wrap="square" lIns="0" tIns="0" rIns="0" bIns="0" rtlCol="0"/>
            <a:lstStyle/>
            <a:p>
              <a:endParaRPr/>
            </a:p>
          </p:txBody>
        </p:sp>
        <p:sp>
          <p:nvSpPr>
            <p:cNvPr id="16" name="object 13">
              <a:extLst>
                <a:ext uri="{FF2B5EF4-FFF2-40B4-BE49-F238E27FC236}">
                  <a16:creationId xmlns:a16="http://schemas.microsoft.com/office/drawing/2014/main" xmlns="" id="{10572C38-0B89-0069-DA6C-CC4BAF85A24C}"/>
                </a:ext>
              </a:extLst>
            </p:cNvPr>
            <p:cNvSpPr/>
            <p:nvPr/>
          </p:nvSpPr>
          <p:spPr>
            <a:xfrm>
              <a:off x="10767700" y="1080025"/>
              <a:ext cx="828675" cy="287020"/>
            </a:xfrm>
            <a:custGeom>
              <a:avLst/>
              <a:gdLst/>
              <a:ahLst/>
              <a:cxnLst/>
              <a:rect l="l" t="t" r="r" b="b"/>
              <a:pathLst>
                <a:path w="828675" h="287019">
                  <a:moveTo>
                    <a:pt x="809853" y="4800"/>
                  </a:moveTo>
                  <a:lnTo>
                    <a:pt x="734212" y="4800"/>
                  </a:lnTo>
                  <a:lnTo>
                    <a:pt x="715818" y="6011"/>
                  </a:lnTo>
                  <a:lnTo>
                    <a:pt x="671055" y="24130"/>
                  </a:lnTo>
                  <a:lnTo>
                    <a:pt x="647641" y="65283"/>
                  </a:lnTo>
                  <a:lnTo>
                    <a:pt x="646074" y="84404"/>
                  </a:lnTo>
                  <a:lnTo>
                    <a:pt x="647404" y="98574"/>
                  </a:lnTo>
                  <a:lnTo>
                    <a:pt x="674197" y="140038"/>
                  </a:lnTo>
                  <a:lnTo>
                    <a:pt x="715937" y="171538"/>
                  </a:lnTo>
                  <a:lnTo>
                    <a:pt x="731144" y="182725"/>
                  </a:lnTo>
                  <a:lnTo>
                    <a:pt x="741914" y="192157"/>
                  </a:lnTo>
                  <a:lnTo>
                    <a:pt x="748323" y="199931"/>
                  </a:lnTo>
                  <a:lnTo>
                    <a:pt x="750442" y="206146"/>
                  </a:lnTo>
                  <a:lnTo>
                    <a:pt x="748536" y="212933"/>
                  </a:lnTo>
                  <a:lnTo>
                    <a:pt x="743437" y="217687"/>
                  </a:lnTo>
                  <a:lnTo>
                    <a:pt x="735078" y="220483"/>
                  </a:lnTo>
                  <a:lnTo>
                    <a:pt x="723391" y="221399"/>
                  </a:lnTo>
                  <a:lnTo>
                    <a:pt x="648195" y="221399"/>
                  </a:lnTo>
                  <a:lnTo>
                    <a:pt x="648195" y="286410"/>
                  </a:lnTo>
                  <a:lnTo>
                    <a:pt x="725868" y="286410"/>
                  </a:lnTo>
                  <a:lnTo>
                    <a:pt x="754387" y="284914"/>
                  </a:lnTo>
                  <a:lnTo>
                    <a:pt x="795561" y="272887"/>
                  </a:lnTo>
                  <a:lnTo>
                    <a:pt x="823517" y="235234"/>
                  </a:lnTo>
                  <a:lnTo>
                    <a:pt x="828547" y="202120"/>
                  </a:lnTo>
                  <a:lnTo>
                    <a:pt x="827074" y="188082"/>
                  </a:lnTo>
                  <a:lnTo>
                    <a:pt x="808227" y="154330"/>
                  </a:lnTo>
                  <a:lnTo>
                    <a:pt x="770155" y="124019"/>
                  </a:lnTo>
                  <a:lnTo>
                    <a:pt x="754164" y="113245"/>
                  </a:lnTo>
                  <a:lnTo>
                    <a:pt x="739183" y="102717"/>
                  </a:lnTo>
                  <a:lnTo>
                    <a:pt x="728538" y="93956"/>
                  </a:lnTo>
                  <a:lnTo>
                    <a:pt x="722185" y="86912"/>
                  </a:lnTo>
                  <a:lnTo>
                    <a:pt x="720077" y="81534"/>
                  </a:lnTo>
                  <a:lnTo>
                    <a:pt x="720509" y="77190"/>
                  </a:lnTo>
                  <a:lnTo>
                    <a:pt x="721766" y="74320"/>
                  </a:lnTo>
                  <a:lnTo>
                    <a:pt x="724636" y="72758"/>
                  </a:lnTo>
                  <a:lnTo>
                    <a:pt x="728014" y="70764"/>
                  </a:lnTo>
                  <a:lnTo>
                    <a:pt x="731723" y="69926"/>
                  </a:lnTo>
                  <a:lnTo>
                    <a:pt x="809853" y="69926"/>
                  </a:lnTo>
                  <a:lnTo>
                    <a:pt x="809853" y="4800"/>
                  </a:lnTo>
                  <a:close/>
                </a:path>
                <a:path w="828675" h="287019">
                  <a:moveTo>
                    <a:pt x="425996" y="4508"/>
                  </a:moveTo>
                  <a:lnTo>
                    <a:pt x="426161" y="286334"/>
                  </a:lnTo>
                  <a:lnTo>
                    <a:pt x="497852" y="286410"/>
                  </a:lnTo>
                  <a:lnTo>
                    <a:pt x="497852" y="179692"/>
                  </a:lnTo>
                  <a:lnTo>
                    <a:pt x="627951" y="179692"/>
                  </a:lnTo>
                  <a:lnTo>
                    <a:pt x="627951" y="112128"/>
                  </a:lnTo>
                  <a:lnTo>
                    <a:pt x="497852" y="112128"/>
                  </a:lnTo>
                  <a:lnTo>
                    <a:pt x="497852" y="4876"/>
                  </a:lnTo>
                  <a:lnTo>
                    <a:pt x="425996" y="4508"/>
                  </a:lnTo>
                  <a:close/>
                </a:path>
                <a:path w="828675" h="287019">
                  <a:moveTo>
                    <a:pt x="627951" y="179692"/>
                  </a:moveTo>
                  <a:lnTo>
                    <a:pt x="555155" y="179692"/>
                  </a:lnTo>
                  <a:lnTo>
                    <a:pt x="555155" y="286410"/>
                  </a:lnTo>
                  <a:lnTo>
                    <a:pt x="627951" y="286410"/>
                  </a:lnTo>
                  <a:lnTo>
                    <a:pt x="627951" y="179692"/>
                  </a:lnTo>
                  <a:close/>
                </a:path>
                <a:path w="828675" h="287019">
                  <a:moveTo>
                    <a:pt x="627951" y="4876"/>
                  </a:moveTo>
                  <a:lnTo>
                    <a:pt x="555155" y="4876"/>
                  </a:lnTo>
                  <a:lnTo>
                    <a:pt x="555155" y="112128"/>
                  </a:lnTo>
                  <a:lnTo>
                    <a:pt x="627951" y="112128"/>
                  </a:lnTo>
                  <a:lnTo>
                    <a:pt x="627951" y="4876"/>
                  </a:lnTo>
                  <a:close/>
                </a:path>
                <a:path w="828675" h="287019">
                  <a:moveTo>
                    <a:pt x="402551" y="4800"/>
                  </a:moveTo>
                  <a:lnTo>
                    <a:pt x="354647" y="4876"/>
                  </a:lnTo>
                  <a:lnTo>
                    <a:pt x="301278" y="15097"/>
                  </a:lnTo>
                  <a:lnTo>
                    <a:pt x="258216" y="45796"/>
                  </a:lnTo>
                  <a:lnTo>
                    <a:pt x="229438" y="91306"/>
                  </a:lnTo>
                  <a:lnTo>
                    <a:pt x="219976" y="145846"/>
                  </a:lnTo>
                  <a:lnTo>
                    <a:pt x="222545" y="174178"/>
                  </a:lnTo>
                  <a:lnTo>
                    <a:pt x="241595" y="223917"/>
                  </a:lnTo>
                  <a:lnTo>
                    <a:pt x="278971" y="263399"/>
                  </a:lnTo>
                  <a:lnTo>
                    <a:pt x="327126" y="283885"/>
                  </a:lnTo>
                  <a:lnTo>
                    <a:pt x="354647" y="286448"/>
                  </a:lnTo>
                  <a:lnTo>
                    <a:pt x="403618" y="285953"/>
                  </a:lnTo>
                  <a:lnTo>
                    <a:pt x="403238" y="218998"/>
                  </a:lnTo>
                  <a:lnTo>
                    <a:pt x="367957" y="218998"/>
                  </a:lnTo>
                  <a:lnTo>
                    <a:pt x="352519" y="217606"/>
                  </a:lnTo>
                  <a:lnTo>
                    <a:pt x="315582" y="200418"/>
                  </a:lnTo>
                  <a:lnTo>
                    <a:pt x="296890" y="162594"/>
                  </a:lnTo>
                  <a:lnTo>
                    <a:pt x="295655" y="145846"/>
                  </a:lnTo>
                  <a:lnTo>
                    <a:pt x="296890" y="128654"/>
                  </a:lnTo>
                  <a:lnTo>
                    <a:pt x="315582" y="91160"/>
                  </a:lnTo>
                  <a:lnTo>
                    <a:pt x="352519" y="73506"/>
                  </a:lnTo>
                  <a:lnTo>
                    <a:pt x="367957" y="72364"/>
                  </a:lnTo>
                  <a:lnTo>
                    <a:pt x="402551" y="72364"/>
                  </a:lnTo>
                  <a:lnTo>
                    <a:pt x="402551" y="4800"/>
                  </a:lnTo>
                  <a:close/>
                </a:path>
                <a:path w="828675" h="287019">
                  <a:moveTo>
                    <a:pt x="403237" y="218909"/>
                  </a:moveTo>
                  <a:lnTo>
                    <a:pt x="367957" y="218998"/>
                  </a:lnTo>
                  <a:lnTo>
                    <a:pt x="403238" y="218998"/>
                  </a:lnTo>
                  <a:close/>
                </a:path>
                <a:path w="828675" h="287019">
                  <a:moveTo>
                    <a:pt x="101879" y="0"/>
                  </a:moveTo>
                  <a:lnTo>
                    <a:pt x="60318" y="7329"/>
                  </a:lnTo>
                  <a:lnTo>
                    <a:pt x="27863" y="28117"/>
                  </a:lnTo>
                  <a:lnTo>
                    <a:pt x="6911" y="60358"/>
                  </a:lnTo>
                  <a:lnTo>
                    <a:pt x="0" y="101676"/>
                  </a:lnTo>
                  <a:lnTo>
                    <a:pt x="0" y="286448"/>
                  </a:lnTo>
                  <a:lnTo>
                    <a:pt x="72301" y="286448"/>
                  </a:lnTo>
                  <a:lnTo>
                    <a:pt x="72301" y="227037"/>
                  </a:lnTo>
                  <a:lnTo>
                    <a:pt x="204088" y="227037"/>
                  </a:lnTo>
                  <a:lnTo>
                    <a:pt x="204088" y="167449"/>
                  </a:lnTo>
                  <a:lnTo>
                    <a:pt x="132041" y="167449"/>
                  </a:lnTo>
                  <a:lnTo>
                    <a:pt x="72364" y="167373"/>
                  </a:lnTo>
                  <a:lnTo>
                    <a:pt x="72410" y="101676"/>
                  </a:lnTo>
                  <a:lnTo>
                    <a:pt x="92786" y="67221"/>
                  </a:lnTo>
                  <a:lnTo>
                    <a:pt x="198715" y="67221"/>
                  </a:lnTo>
                  <a:lnTo>
                    <a:pt x="196849" y="60358"/>
                  </a:lnTo>
                  <a:lnTo>
                    <a:pt x="175894" y="28117"/>
                  </a:lnTo>
                  <a:lnTo>
                    <a:pt x="143040" y="6981"/>
                  </a:lnTo>
                  <a:lnTo>
                    <a:pt x="123517" y="1739"/>
                  </a:lnTo>
                  <a:lnTo>
                    <a:pt x="101879" y="0"/>
                  </a:lnTo>
                  <a:close/>
                </a:path>
                <a:path w="828675" h="287019">
                  <a:moveTo>
                    <a:pt x="204088" y="227037"/>
                  </a:moveTo>
                  <a:lnTo>
                    <a:pt x="131444" y="227037"/>
                  </a:lnTo>
                  <a:lnTo>
                    <a:pt x="131317" y="286448"/>
                  </a:lnTo>
                  <a:lnTo>
                    <a:pt x="204088" y="286448"/>
                  </a:lnTo>
                  <a:lnTo>
                    <a:pt x="204088" y="227037"/>
                  </a:lnTo>
                  <a:close/>
                </a:path>
                <a:path w="828675" h="287019">
                  <a:moveTo>
                    <a:pt x="198715" y="67221"/>
                  </a:moveTo>
                  <a:lnTo>
                    <a:pt x="110997" y="67221"/>
                  </a:lnTo>
                  <a:lnTo>
                    <a:pt x="118033" y="70485"/>
                  </a:lnTo>
                  <a:lnTo>
                    <a:pt x="123062" y="76923"/>
                  </a:lnTo>
                  <a:lnTo>
                    <a:pt x="132041" y="167449"/>
                  </a:lnTo>
                  <a:lnTo>
                    <a:pt x="204088" y="167449"/>
                  </a:lnTo>
                  <a:lnTo>
                    <a:pt x="204088" y="101676"/>
                  </a:lnTo>
                  <a:lnTo>
                    <a:pt x="202155" y="79879"/>
                  </a:lnTo>
                  <a:lnTo>
                    <a:pt x="198715" y="67221"/>
                  </a:lnTo>
                  <a:close/>
                </a:path>
              </a:pathLst>
            </a:custGeom>
            <a:solidFill>
              <a:srgbClr val="FFFFFF"/>
            </a:solidFill>
          </p:spPr>
          <p:txBody>
            <a:bodyPr wrap="square" lIns="0" tIns="0" rIns="0" bIns="0" rtlCol="0"/>
            <a:lstStyle/>
            <a:p>
              <a:endParaRPr/>
            </a:p>
          </p:txBody>
        </p:sp>
      </p:grpSp>
      <p:sp>
        <p:nvSpPr>
          <p:cNvPr id="17" name="Rectángulo redondeado 16"/>
          <p:cNvSpPr/>
          <p:nvPr/>
        </p:nvSpPr>
        <p:spPr>
          <a:xfrm>
            <a:off x="414586" y="1506771"/>
            <a:ext cx="2952000" cy="1800000"/>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Desarrollar y establecer los programas de vigilancia de factores de riesgo y de la salud de trabajadores expuestos a factores de riesgo de TMERT que será fiscalizable por la autoridad sanitaria.</a:t>
            </a:r>
            <a:endParaRPr kumimoji="0" lang="es-CL" sz="1400" b="0" i="0" u="none" strike="noStrike" cap="none" spc="0" normalizeH="0" baseline="0" dirty="0">
              <a:ln>
                <a:noFill/>
              </a:ln>
              <a:solidFill>
                <a:srgbClr val="FFFFFF"/>
              </a:solidFill>
              <a:effectLst/>
              <a:uFillTx/>
              <a:ea typeface="Helvetica Neue Medium"/>
              <a:cs typeface="Helvetica Neue Medium"/>
              <a:sym typeface="Helvetica Neue Medium"/>
            </a:endParaRPr>
          </a:p>
        </p:txBody>
      </p:sp>
      <p:sp>
        <p:nvSpPr>
          <p:cNvPr id="18" name="Rectángulo redondeado 17"/>
          <p:cNvSpPr/>
          <p:nvPr/>
        </p:nvSpPr>
        <p:spPr>
          <a:xfrm>
            <a:off x="3278182" y="3793614"/>
            <a:ext cx="2952000" cy="1800000"/>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Entregar información solicitada por la SEREMI de Salud respecto de los programas de vigilancia y de la gestión de riesgo de las empresas.</a:t>
            </a:r>
          </a:p>
        </p:txBody>
      </p:sp>
    </p:spTree>
    <p:extLst>
      <p:ext uri="{BB962C8B-B14F-4D97-AF65-F5344CB8AC3E}">
        <p14:creationId xmlns:p14="http://schemas.microsoft.com/office/powerpoint/2010/main" val="1371769797"/>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ifusión</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3" y="1102223"/>
            <a:ext cx="11013960" cy="1354217"/>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Tanto la Entidad Empleadora como el OAL/AD deberán generar mecanismos de difusión verificable (correos electrónicos masivos, cartas, campañas de difusión, seminarios, entre otros), cuyo formato será libre, no obstante, deberá contener toda la información solicitada para tal efecto en este protocolo. </a:t>
            </a:r>
          </a:p>
          <a:p>
            <a:pPr marL="0" indent="0" algn="just">
              <a:lnSpc>
                <a:spcPct val="100000"/>
              </a:lnSpc>
              <a:defRPr/>
            </a:pPr>
            <a:endParaRPr lang="es-CL" sz="1800" dirty="0">
              <a:solidFill>
                <a:schemeClr val="bg1">
                  <a:lumMod val="50000"/>
                </a:schemeClr>
              </a:solidFill>
            </a:endParaRPr>
          </a:p>
        </p:txBody>
      </p:sp>
      <p:sp>
        <p:nvSpPr>
          <p:cNvPr id="2" name="Marcador de texto 9">
            <a:extLst>
              <a:ext uri="{FF2B5EF4-FFF2-40B4-BE49-F238E27FC236}">
                <a16:creationId xmlns:a16="http://schemas.microsoft.com/office/drawing/2014/main" xmlns="" id="{0A7BBC95-9B93-5905-BA21-6F93F0BFB141}"/>
              </a:ext>
            </a:extLst>
          </p:cNvPr>
          <p:cNvSpPr txBox="1">
            <a:spLocks/>
          </p:cNvSpPr>
          <p:nvPr/>
        </p:nvSpPr>
        <p:spPr>
          <a:xfrm>
            <a:off x="436563" y="2456440"/>
            <a:ext cx="6604316" cy="387798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720725" indent="0" algn="just">
              <a:lnSpc>
                <a:spcPct val="100000"/>
              </a:lnSpc>
              <a:defRPr/>
            </a:pPr>
            <a:r>
              <a:rPr lang="es-CL" sz="1800" dirty="0">
                <a:solidFill>
                  <a:schemeClr val="bg1">
                    <a:lumMod val="50000"/>
                  </a:schemeClr>
                </a:solidFill>
              </a:rPr>
              <a:t>- Equipos de profesionales de los Organismos Administradores Ley (OAL) que estén involucrados en el proceso de vigilancia ambiental y de salud.</a:t>
            </a:r>
          </a:p>
          <a:p>
            <a:pPr marL="720725" indent="0" algn="just">
              <a:lnSpc>
                <a:spcPct val="100000"/>
              </a:lnSpc>
              <a:defRPr/>
            </a:pPr>
            <a:r>
              <a:rPr lang="es-CL" sz="1800" dirty="0">
                <a:solidFill>
                  <a:schemeClr val="bg1">
                    <a:lumMod val="50000"/>
                  </a:schemeClr>
                </a:solidFill>
              </a:rPr>
              <a:t>- Los OAL serán los responsables de la difusión de este protocolo a las entidades empleadoras.</a:t>
            </a:r>
          </a:p>
          <a:p>
            <a:pPr marL="720725" indent="0" algn="just">
              <a:lnSpc>
                <a:spcPct val="100000"/>
              </a:lnSpc>
              <a:defRPr/>
            </a:pPr>
            <a:r>
              <a:rPr lang="es-CL" sz="1800" dirty="0">
                <a:solidFill>
                  <a:schemeClr val="bg1">
                    <a:lumMod val="50000"/>
                  </a:schemeClr>
                </a:solidFill>
              </a:rPr>
              <a:t>- Las entidades empleadoras serán responsables de la difusión de este protocolo a los trabajadores, trabajadoras, sindicatos y comités paritarios.</a:t>
            </a:r>
          </a:p>
          <a:p>
            <a:pPr marL="720725" indent="0" algn="just">
              <a:lnSpc>
                <a:spcPct val="100000"/>
              </a:lnSpc>
              <a:defRPr/>
            </a:pPr>
            <a:r>
              <a:rPr lang="es-CL" sz="1800" dirty="0">
                <a:solidFill>
                  <a:schemeClr val="bg1">
                    <a:lumMod val="50000"/>
                  </a:schemeClr>
                </a:solidFill>
              </a:rPr>
              <a:t>- Profesionales de la salud ocupacional, prevención de riesgo, ergonomía y todo aquel que asesore empresas en la identificación, evaluación, control y mejoras de las condiciones laborales.</a:t>
            </a:r>
          </a:p>
        </p:txBody>
      </p:sp>
      <p:pic>
        <p:nvPicPr>
          <p:cNvPr id="4" name="Imagen 3">
            <a:extLst>
              <a:ext uri="{FF2B5EF4-FFF2-40B4-BE49-F238E27FC236}">
                <a16:creationId xmlns:a16="http://schemas.microsoft.com/office/drawing/2014/main" xmlns="" id="{77ED6603-D97C-5565-5928-70B9FF92B2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0879" y="4195306"/>
            <a:ext cx="5415280" cy="2758865"/>
          </a:xfrm>
          <a:prstGeom prst="rect">
            <a:avLst/>
          </a:prstGeom>
        </p:spPr>
      </p:pic>
    </p:spTree>
    <p:extLst>
      <p:ext uri="{BB962C8B-B14F-4D97-AF65-F5344CB8AC3E}">
        <p14:creationId xmlns:p14="http://schemas.microsoft.com/office/powerpoint/2010/main" val="1494559995"/>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ifusión</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pic>
        <p:nvPicPr>
          <p:cNvPr id="4" name="Imagen 3">
            <a:extLst>
              <a:ext uri="{FF2B5EF4-FFF2-40B4-BE49-F238E27FC236}">
                <a16:creationId xmlns:a16="http://schemas.microsoft.com/office/drawing/2014/main" xmlns="" id="{D1E4AE36-C6E5-6B91-7DB6-E3178F894BE9}"/>
              </a:ext>
            </a:extLst>
          </p:cNvPr>
          <p:cNvPicPr>
            <a:picLocks noChangeAspect="1"/>
          </p:cNvPicPr>
          <p:nvPr/>
        </p:nvPicPr>
        <p:blipFill>
          <a:blip r:embed="rId3"/>
          <a:stretch>
            <a:fillRect/>
          </a:stretch>
        </p:blipFill>
        <p:spPr>
          <a:xfrm>
            <a:off x="1366366" y="1354449"/>
            <a:ext cx="4071911" cy="5269871"/>
          </a:xfrm>
          <a:prstGeom prst="rect">
            <a:avLst/>
          </a:prstGeom>
          <a:ln>
            <a:solidFill>
              <a:schemeClr val="accent1"/>
            </a:solidFill>
          </a:ln>
        </p:spPr>
      </p:pic>
      <p:pic>
        <p:nvPicPr>
          <p:cNvPr id="6" name="Imagen 5">
            <a:extLst>
              <a:ext uri="{FF2B5EF4-FFF2-40B4-BE49-F238E27FC236}">
                <a16:creationId xmlns:a16="http://schemas.microsoft.com/office/drawing/2014/main" xmlns="" id="{06415437-CCBE-C680-377C-1EE90C96199D}"/>
              </a:ext>
            </a:extLst>
          </p:cNvPr>
          <p:cNvPicPr>
            <a:picLocks noChangeAspect="1"/>
          </p:cNvPicPr>
          <p:nvPr/>
        </p:nvPicPr>
        <p:blipFill>
          <a:blip r:embed="rId4"/>
          <a:stretch>
            <a:fillRect/>
          </a:stretch>
        </p:blipFill>
        <p:spPr>
          <a:xfrm>
            <a:off x="6358005" y="1354449"/>
            <a:ext cx="4069288" cy="5269872"/>
          </a:xfrm>
          <a:prstGeom prst="rect">
            <a:avLst/>
          </a:prstGeom>
          <a:ln>
            <a:solidFill>
              <a:schemeClr val="accent1"/>
            </a:solidFill>
          </a:ln>
        </p:spPr>
      </p:pic>
    </p:spTree>
    <p:extLst>
      <p:ext uri="{BB962C8B-B14F-4D97-AF65-F5344CB8AC3E}">
        <p14:creationId xmlns:p14="http://schemas.microsoft.com/office/powerpoint/2010/main" val="3153651932"/>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7779"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xmlns=""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xmlns=""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xmlns=""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xmlns=""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xmlns=""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xmlns=""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Responsabilidades y Difusión</a:t>
            </a:r>
            <a:endParaRPr lang="es-CL" dirty="0">
              <a:solidFill>
                <a:srgbClr val="006D36"/>
              </a:solidFill>
            </a:endParaRPr>
          </a:p>
        </p:txBody>
      </p:sp>
      <p:sp>
        <p:nvSpPr>
          <p:cNvPr id="32" name="Marcador de texto 7">
            <a:extLst>
              <a:ext uri="{FF2B5EF4-FFF2-40B4-BE49-F238E27FC236}">
                <a16:creationId xmlns:a16="http://schemas.microsoft.com/office/drawing/2014/main" xmlns=""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Objetivos y Definiciones Generales</a:t>
            </a:r>
            <a:endParaRPr lang="es-CL" dirty="0">
              <a:solidFill>
                <a:srgbClr val="006D36"/>
              </a:solidFill>
            </a:endParaRPr>
          </a:p>
        </p:txBody>
      </p:sp>
      <p:sp>
        <p:nvSpPr>
          <p:cNvPr id="33" name="Marcador de texto 7">
            <a:extLst>
              <a:ext uri="{FF2B5EF4-FFF2-40B4-BE49-F238E27FC236}">
                <a16:creationId xmlns:a16="http://schemas.microsoft.com/office/drawing/2014/main" xmlns=""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 y Actualización Protocolo TMERT</a:t>
            </a:r>
            <a:endParaRPr lang="es-ES" dirty="0">
              <a:solidFill>
                <a:srgbClr val="006D36"/>
              </a:solidFill>
            </a:endParaRPr>
          </a:p>
        </p:txBody>
      </p:sp>
      <p:sp>
        <p:nvSpPr>
          <p:cNvPr id="35" name="Marcador de texto 7">
            <a:extLst>
              <a:ext uri="{FF2B5EF4-FFF2-40B4-BE49-F238E27FC236}">
                <a16:creationId xmlns:a16="http://schemas.microsoft.com/office/drawing/2014/main" xmlns=""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xmlns=""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xmlns=""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t>
            </a:r>
            <a:r>
              <a:rPr lang="es-ES" dirty="0" smtClean="0">
                <a:solidFill>
                  <a:srgbClr val="006D36"/>
                </a:solidFill>
              </a:rPr>
              <a:t>Ambiental</a:t>
            </a:r>
            <a:endParaRPr lang="es-CL" dirty="0">
              <a:solidFill>
                <a:srgbClr val="006D36"/>
              </a:solidFill>
            </a:endParaRPr>
          </a:p>
        </p:txBody>
      </p:sp>
      <p:sp>
        <p:nvSpPr>
          <p:cNvPr id="18" name="Marcador de texto 7">
            <a:extLst>
              <a:ext uri="{FF2B5EF4-FFF2-40B4-BE49-F238E27FC236}">
                <a16:creationId xmlns:a16="http://schemas.microsoft.com/office/drawing/2014/main" xmlns=""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a:t>
            </a:r>
            <a:r>
              <a:rPr lang="es-ES" dirty="0">
                <a:solidFill>
                  <a:srgbClr val="006D36"/>
                </a:solidFill>
              </a:rPr>
              <a:t>P</a:t>
            </a:r>
            <a:r>
              <a:rPr lang="es-ES" dirty="0" smtClean="0">
                <a:solidFill>
                  <a:srgbClr val="006D36"/>
                </a:solidFill>
              </a:rPr>
              <a:t>rotocolo </a:t>
            </a:r>
            <a:r>
              <a:rPr lang="es-ES" dirty="0">
                <a:solidFill>
                  <a:srgbClr val="006D36"/>
                </a:solidFill>
              </a:rPr>
              <a:t>TMERT</a:t>
            </a:r>
            <a:endParaRPr lang="es-CL" dirty="0">
              <a:solidFill>
                <a:srgbClr val="006D36"/>
              </a:solidFill>
            </a:endParaRPr>
          </a:p>
        </p:txBody>
      </p:sp>
      <p:sp>
        <p:nvSpPr>
          <p:cNvPr id="2" name="Marcador de texto 4">
            <a:extLst>
              <a:ext uri="{FF2B5EF4-FFF2-40B4-BE49-F238E27FC236}">
                <a16:creationId xmlns:a16="http://schemas.microsoft.com/office/drawing/2014/main" xmlns=""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2525966554"/>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xmlns=""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sp>
        <p:nvSpPr>
          <p:cNvPr id="5" name="Marcador de texto 9">
            <a:extLst>
              <a:ext uri="{FF2B5EF4-FFF2-40B4-BE49-F238E27FC236}">
                <a16:creationId xmlns:a16="http://schemas.microsoft.com/office/drawing/2014/main" xmlns="" id="{86E0B116-85D7-2B7C-7832-B98B040DD6F0}"/>
              </a:ext>
            </a:extLst>
          </p:cNvPr>
          <p:cNvSpPr txBox="1">
            <a:spLocks/>
          </p:cNvSpPr>
          <p:nvPr/>
        </p:nvSpPr>
        <p:spPr>
          <a:xfrm>
            <a:off x="436564" y="1507198"/>
            <a:ext cx="11013960" cy="347787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s un proceso sistemático y continuo de observación, recolección, análisis y seguimiento de datos relacionados con el entorno y el medio ambiente.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El objetivo principal de la vigilancia ambiental definida para este protocolo es evaluar y monitorear las condiciones laborales a las que se encuentran expuestos las trabajadoras y los trabajadores para detectar posibles impactos negativos en su salud.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Los datos recopilados durante la vigilancia ambiental son analizados y utilizados para informar y guiar la toma de decisiones en materia de políticas públicas, regulaciones ambientales y medidas de prevención y control de la exposición a factores de riesgo de trastornos musculoesqueléticos.</a:t>
            </a:r>
          </a:p>
        </p:txBody>
      </p:sp>
    </p:spTree>
    <p:extLst>
      <p:ext uri="{BB962C8B-B14F-4D97-AF65-F5344CB8AC3E}">
        <p14:creationId xmlns:p14="http://schemas.microsoft.com/office/powerpoint/2010/main" val="2388807775"/>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xmlns=""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graphicFrame>
        <p:nvGraphicFramePr>
          <p:cNvPr id="4" name="1 Diagrama">
            <a:extLst>
              <a:ext uri="{FF2B5EF4-FFF2-40B4-BE49-F238E27FC236}">
                <a16:creationId xmlns:a16="http://schemas.microsoft.com/office/drawing/2014/main" xmlns="" id="{99F34D04-7097-885E-D3F0-0C94736D8886}"/>
              </a:ext>
            </a:extLst>
          </p:cNvPr>
          <p:cNvGraphicFramePr/>
          <p:nvPr/>
        </p:nvGraphicFramePr>
        <p:xfrm>
          <a:off x="2785446" y="1105989"/>
          <a:ext cx="6096000" cy="5000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022468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Vigilancia Ambienta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 name="Marcador de texto 7">
            <a:extLst>
              <a:ext uri="{FF2B5EF4-FFF2-40B4-BE49-F238E27FC236}">
                <a16:creationId xmlns:a16="http://schemas.microsoft.com/office/drawing/2014/main" xmlns="" id="{F9841CB2-F0F2-CB98-5785-3C0C352E101A}"/>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Factores de riesgo TMERT</a:t>
            </a:r>
            <a:endParaRPr lang="es-CL" dirty="0">
              <a:solidFill>
                <a:srgbClr val="006D36"/>
              </a:solidFill>
            </a:endParaRPr>
          </a:p>
        </p:txBody>
      </p:sp>
      <p:graphicFrame>
        <p:nvGraphicFramePr>
          <p:cNvPr id="5" name="7 Diagrama">
            <a:extLst>
              <a:ext uri="{FF2B5EF4-FFF2-40B4-BE49-F238E27FC236}">
                <a16:creationId xmlns:a16="http://schemas.microsoft.com/office/drawing/2014/main" xmlns="" id="{AF261AD5-BF7B-5A9D-AEE4-DC4BC44D35FC}"/>
              </a:ext>
            </a:extLst>
          </p:cNvPr>
          <p:cNvGraphicFramePr/>
          <p:nvPr/>
        </p:nvGraphicFramePr>
        <p:xfrm>
          <a:off x="1708418" y="1671276"/>
          <a:ext cx="8262561" cy="4227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8 CuadroTexto">
            <a:extLst>
              <a:ext uri="{FF2B5EF4-FFF2-40B4-BE49-F238E27FC236}">
                <a16:creationId xmlns:a16="http://schemas.microsoft.com/office/drawing/2014/main" xmlns="" id="{51EC584C-8E19-5899-B877-CAB03E1E2547}"/>
              </a:ext>
            </a:extLst>
          </p:cNvPr>
          <p:cNvSpPr txBox="1"/>
          <p:nvPr/>
        </p:nvSpPr>
        <p:spPr>
          <a:xfrm>
            <a:off x="3450922" y="2017253"/>
            <a:ext cx="5586179" cy="369332"/>
          </a:xfrm>
          <a:prstGeom prst="rect">
            <a:avLst/>
          </a:prstGeom>
          <a:noFill/>
        </p:spPr>
        <p:txBody>
          <a:bodyPr wrap="square" lIns="0" tIns="0" rIns="0" bIns="0" rtlCol="0">
            <a:spAutoFit/>
          </a:bodyPr>
          <a:lstStyle/>
          <a:p>
            <a:pPr algn="ctr"/>
            <a:r>
              <a:rPr lang="es-CL" sz="2400" b="1" dirty="0">
                <a:latin typeface="Arial" pitchFamily="34" charset="0"/>
                <a:cs typeface="Arial" pitchFamily="34" charset="0"/>
              </a:rPr>
              <a:t>TMERT VIGILANCIA AMBIENTAL </a:t>
            </a:r>
          </a:p>
        </p:txBody>
      </p:sp>
      <p:sp>
        <p:nvSpPr>
          <p:cNvPr id="7" name="Flecha: hacia abajo 6">
            <a:extLst>
              <a:ext uri="{FF2B5EF4-FFF2-40B4-BE49-F238E27FC236}">
                <a16:creationId xmlns:a16="http://schemas.microsoft.com/office/drawing/2014/main" xmlns="" id="{8D7C6DE7-3F4B-D9F2-2C78-8B7AB2CD508B}"/>
              </a:ext>
            </a:extLst>
          </p:cNvPr>
          <p:cNvSpPr/>
          <p:nvPr/>
        </p:nvSpPr>
        <p:spPr>
          <a:xfrm>
            <a:off x="556728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9" name="Flecha: hacia abajo 8">
            <a:extLst>
              <a:ext uri="{FF2B5EF4-FFF2-40B4-BE49-F238E27FC236}">
                <a16:creationId xmlns:a16="http://schemas.microsoft.com/office/drawing/2014/main" xmlns="" id="{58448492-8537-F9DF-DF04-86CB3FCC59E6}"/>
              </a:ext>
            </a:extLst>
          </p:cNvPr>
          <p:cNvSpPr/>
          <p:nvPr/>
        </p:nvSpPr>
        <p:spPr>
          <a:xfrm>
            <a:off x="735237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0" name="Flecha: hacia abajo 9">
            <a:extLst>
              <a:ext uri="{FF2B5EF4-FFF2-40B4-BE49-F238E27FC236}">
                <a16:creationId xmlns:a16="http://schemas.microsoft.com/office/drawing/2014/main" xmlns="" id="{4EA8CC28-82C7-E101-D819-E9BCE3A255EA}"/>
              </a:ext>
            </a:extLst>
          </p:cNvPr>
          <p:cNvSpPr/>
          <p:nvPr/>
        </p:nvSpPr>
        <p:spPr>
          <a:xfrm>
            <a:off x="9137462" y="4513338"/>
            <a:ext cx="535258" cy="592422"/>
          </a:xfrm>
          <a:prstGeom prst="downArrow">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Rectángulo: esquinas redondeadas 11">
            <a:extLst>
              <a:ext uri="{FF2B5EF4-FFF2-40B4-BE49-F238E27FC236}">
                <a16:creationId xmlns:a16="http://schemas.microsoft.com/office/drawing/2014/main" xmlns="" id="{0721650F-8664-EDBD-BB16-F335A9CE5F9F}"/>
              </a:ext>
            </a:extLst>
          </p:cNvPr>
          <p:cNvSpPr/>
          <p:nvPr/>
        </p:nvSpPr>
        <p:spPr>
          <a:xfrm>
            <a:off x="5506321" y="5341720"/>
            <a:ext cx="4403697" cy="522129"/>
          </a:xfrm>
          <a:prstGeom prst="roundRect">
            <a:avLst/>
          </a:prstGeom>
          <a:solidFill>
            <a:srgbClr val="13C045"/>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b="1" dirty="0">
                <a:solidFill>
                  <a:srgbClr val="FFFFFF"/>
                </a:solidFill>
                <a:ea typeface="Helvetica Neue Medium"/>
                <a:cs typeface="Helvetica Neue Medium"/>
                <a:sym typeface="Helvetica Neue Medium"/>
              </a:rPr>
              <a:t>Medidas de Control</a:t>
            </a:r>
          </a:p>
        </p:txBody>
      </p:sp>
    </p:spTree>
    <p:extLst>
      <p:ext uri="{BB962C8B-B14F-4D97-AF65-F5344CB8AC3E}">
        <p14:creationId xmlns:p14="http://schemas.microsoft.com/office/powerpoint/2010/main" val="2857000899"/>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803"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xmlns=""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xmlns=""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xmlns=""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xmlns=""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xmlns=""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xmlns=""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Responsabilidades y Difusión</a:t>
            </a:r>
            <a:endParaRPr lang="es-CL" dirty="0">
              <a:solidFill>
                <a:srgbClr val="006D36"/>
              </a:solidFill>
            </a:endParaRPr>
          </a:p>
        </p:txBody>
      </p:sp>
      <p:sp>
        <p:nvSpPr>
          <p:cNvPr id="32" name="Marcador de texto 7">
            <a:extLst>
              <a:ext uri="{FF2B5EF4-FFF2-40B4-BE49-F238E27FC236}">
                <a16:creationId xmlns:a16="http://schemas.microsoft.com/office/drawing/2014/main" xmlns=""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Objetivos y Definiciones Generales</a:t>
            </a:r>
            <a:endParaRPr lang="es-CL" dirty="0">
              <a:solidFill>
                <a:srgbClr val="006D36"/>
              </a:solidFill>
            </a:endParaRPr>
          </a:p>
        </p:txBody>
      </p:sp>
      <p:sp>
        <p:nvSpPr>
          <p:cNvPr id="33" name="Marcador de texto 7">
            <a:extLst>
              <a:ext uri="{FF2B5EF4-FFF2-40B4-BE49-F238E27FC236}">
                <a16:creationId xmlns:a16="http://schemas.microsoft.com/office/drawing/2014/main" xmlns=""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 y Actualización Protocolo TMERT</a:t>
            </a:r>
            <a:endParaRPr lang="es-ES" dirty="0">
              <a:solidFill>
                <a:srgbClr val="006D36"/>
              </a:solidFill>
            </a:endParaRPr>
          </a:p>
        </p:txBody>
      </p:sp>
      <p:sp>
        <p:nvSpPr>
          <p:cNvPr id="35" name="Marcador de texto 7">
            <a:extLst>
              <a:ext uri="{FF2B5EF4-FFF2-40B4-BE49-F238E27FC236}">
                <a16:creationId xmlns:a16="http://schemas.microsoft.com/office/drawing/2014/main" xmlns=""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xmlns=""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xmlns=""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t>
            </a:r>
            <a:r>
              <a:rPr lang="es-ES" dirty="0" smtClean="0">
                <a:solidFill>
                  <a:srgbClr val="006D36"/>
                </a:solidFill>
              </a:rPr>
              <a:t>Ambiental</a:t>
            </a:r>
            <a:endParaRPr lang="es-CL" dirty="0">
              <a:solidFill>
                <a:srgbClr val="006D36"/>
              </a:solidFill>
            </a:endParaRPr>
          </a:p>
        </p:txBody>
      </p:sp>
      <p:sp>
        <p:nvSpPr>
          <p:cNvPr id="18" name="Marcador de texto 7">
            <a:extLst>
              <a:ext uri="{FF2B5EF4-FFF2-40B4-BE49-F238E27FC236}">
                <a16:creationId xmlns:a16="http://schemas.microsoft.com/office/drawing/2014/main" xmlns=""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a:t>
            </a:r>
            <a:r>
              <a:rPr lang="es-ES" dirty="0">
                <a:solidFill>
                  <a:srgbClr val="006D36"/>
                </a:solidFill>
              </a:rPr>
              <a:t>P</a:t>
            </a:r>
            <a:r>
              <a:rPr lang="es-ES" dirty="0" smtClean="0">
                <a:solidFill>
                  <a:srgbClr val="006D36"/>
                </a:solidFill>
              </a:rPr>
              <a:t>rotocolo </a:t>
            </a:r>
            <a:r>
              <a:rPr lang="es-ES" dirty="0">
                <a:solidFill>
                  <a:srgbClr val="006D36"/>
                </a:solidFill>
              </a:rPr>
              <a:t>TMERT</a:t>
            </a:r>
            <a:endParaRPr lang="es-CL" dirty="0">
              <a:solidFill>
                <a:srgbClr val="006D36"/>
              </a:solidFill>
            </a:endParaRPr>
          </a:p>
        </p:txBody>
      </p:sp>
      <p:sp>
        <p:nvSpPr>
          <p:cNvPr id="2" name="Marcador de texto 4">
            <a:extLst>
              <a:ext uri="{FF2B5EF4-FFF2-40B4-BE49-F238E27FC236}">
                <a16:creationId xmlns:a16="http://schemas.microsoft.com/office/drawing/2014/main" xmlns=""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2751614977"/>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aracterización</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222556" cy="2646878"/>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Todo puesto de trabajo deberá ser caracterizado con los datos generales del proceso y una descripción de sus tareas. Esta etapa es fundamental para un correcto mapeo de sus procesos e interacciones.</a:t>
            </a:r>
          </a:p>
          <a:p>
            <a:pPr marL="0" indent="0" algn="just">
              <a:lnSpc>
                <a:spcPct val="100000"/>
              </a:lnSpc>
              <a:defRPr/>
            </a:pPr>
            <a:r>
              <a:rPr lang="es-CL" sz="1800" dirty="0">
                <a:solidFill>
                  <a:schemeClr val="bg1">
                    <a:lumMod val="50000"/>
                  </a:schemeClr>
                </a:solidFill>
              </a:rPr>
              <a:t>Es de </a:t>
            </a:r>
            <a:r>
              <a:rPr lang="es-CL" sz="2000" b="1" dirty="0">
                <a:solidFill>
                  <a:schemeClr val="bg1">
                    <a:lumMod val="50000"/>
                  </a:schemeClr>
                </a:solidFill>
              </a:rPr>
              <a:t>responsabilidad de la empresa </a:t>
            </a:r>
            <a:r>
              <a:rPr lang="es-CL" sz="1800" dirty="0">
                <a:solidFill>
                  <a:schemeClr val="bg1">
                    <a:lumMod val="50000"/>
                  </a:schemeClr>
                </a:solidFill>
              </a:rPr>
              <a:t>desarrollarlo y para ello se deberá utilizar: </a:t>
            </a:r>
          </a:p>
          <a:p>
            <a:pPr marL="0" indent="0" algn="just">
              <a:lnSpc>
                <a:spcPct val="100000"/>
              </a:lnSpc>
              <a:defRPr/>
            </a:pPr>
            <a:r>
              <a:rPr lang="es-CL" sz="1800" b="1" u="sng" dirty="0">
                <a:solidFill>
                  <a:schemeClr val="bg1">
                    <a:lumMod val="50000"/>
                  </a:schemeClr>
                </a:solidFill>
              </a:rPr>
              <a:t>Anexo I</a:t>
            </a:r>
            <a:r>
              <a:rPr lang="es-CL" sz="1800" b="1" dirty="0">
                <a:solidFill>
                  <a:schemeClr val="bg1">
                    <a:lumMod val="50000"/>
                  </a:schemeClr>
                </a:solidFill>
              </a:rPr>
              <a:t>: Caracterización de puesto de trabajo.</a:t>
            </a:r>
          </a:p>
        </p:txBody>
      </p:sp>
      <p:pic>
        <p:nvPicPr>
          <p:cNvPr id="5" name="Imagen 4">
            <a:extLst>
              <a:ext uri="{FF2B5EF4-FFF2-40B4-BE49-F238E27FC236}">
                <a16:creationId xmlns:a16="http://schemas.microsoft.com/office/drawing/2014/main" xmlns="" id="{B0AA9328-32F1-89E1-51FA-6FFA396FD235}"/>
              </a:ext>
            </a:extLst>
          </p:cNvPr>
          <p:cNvPicPr>
            <a:picLocks noChangeAspect="1"/>
          </p:cNvPicPr>
          <p:nvPr/>
        </p:nvPicPr>
        <p:blipFill rotWithShape="1">
          <a:blip r:embed="rId3"/>
          <a:srcRect/>
          <a:stretch/>
        </p:blipFill>
        <p:spPr>
          <a:xfrm>
            <a:off x="6219741" y="1102223"/>
            <a:ext cx="5535695" cy="5164171"/>
          </a:xfrm>
          <a:prstGeom prst="rect">
            <a:avLst/>
          </a:prstGeom>
        </p:spPr>
      </p:pic>
    </p:spTree>
    <p:extLst>
      <p:ext uri="{BB962C8B-B14F-4D97-AF65-F5344CB8AC3E}">
        <p14:creationId xmlns:p14="http://schemas.microsoft.com/office/powerpoint/2010/main" val="2159819194"/>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inicia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49262" y="1522557"/>
            <a:ext cx="5179378" cy="2185214"/>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Inmediatamente después de caracterizar los puestos y listar sus tareas, se deberá aplicar a cada puesto de trabajo, las preguntas de </a:t>
            </a:r>
            <a:r>
              <a:rPr lang="es-CL" sz="1800" b="1" dirty="0">
                <a:solidFill>
                  <a:schemeClr val="bg1">
                    <a:lumMod val="50000"/>
                  </a:schemeClr>
                </a:solidFill>
              </a:rPr>
              <a:t>identificación inicial</a:t>
            </a:r>
            <a:r>
              <a:rPr lang="es-CL" sz="1800" dirty="0">
                <a:solidFill>
                  <a:schemeClr val="bg1">
                    <a:lumMod val="50000"/>
                  </a:schemeClr>
                </a:solidFill>
              </a:rPr>
              <a:t>, con el objetivo de detectar la presencia de factores de riesgos de TMERT en éste.</a:t>
            </a:r>
          </a:p>
          <a:p>
            <a:pPr marL="0" indent="0" algn="just">
              <a:lnSpc>
                <a:spcPct val="100000"/>
              </a:lnSpc>
              <a:defRPr/>
            </a:pPr>
            <a:r>
              <a:rPr lang="es-CL" sz="1800" b="1" u="sng" dirty="0">
                <a:solidFill>
                  <a:schemeClr val="bg1">
                    <a:lumMod val="50000"/>
                  </a:schemeClr>
                </a:solidFill>
              </a:rPr>
              <a:t>Tabla I</a:t>
            </a:r>
            <a:r>
              <a:rPr lang="es-CL" sz="1800" b="1" dirty="0">
                <a:solidFill>
                  <a:schemeClr val="bg1">
                    <a:lumMod val="50000"/>
                  </a:schemeClr>
                </a:solidFill>
              </a:rPr>
              <a:t>: Identificación Inicial</a:t>
            </a:r>
            <a:r>
              <a:rPr lang="es-CL" sz="1800" dirty="0">
                <a:solidFill>
                  <a:schemeClr val="bg1">
                    <a:lumMod val="50000"/>
                  </a:schemeClr>
                </a:solidFill>
              </a:rPr>
              <a:t>,</a:t>
            </a:r>
          </a:p>
        </p:txBody>
      </p:sp>
      <p:pic>
        <p:nvPicPr>
          <p:cNvPr id="4" name="Imagen 3">
            <a:extLst>
              <a:ext uri="{FF2B5EF4-FFF2-40B4-BE49-F238E27FC236}">
                <a16:creationId xmlns:a16="http://schemas.microsoft.com/office/drawing/2014/main" xmlns="" id="{E59057CE-5DAF-1419-D4CE-0EDD87A4F6BC}"/>
              </a:ext>
            </a:extLst>
          </p:cNvPr>
          <p:cNvPicPr>
            <a:picLocks noChangeAspect="1"/>
          </p:cNvPicPr>
          <p:nvPr/>
        </p:nvPicPr>
        <p:blipFill>
          <a:blip r:embed="rId3"/>
          <a:stretch>
            <a:fillRect/>
          </a:stretch>
        </p:blipFill>
        <p:spPr>
          <a:xfrm>
            <a:off x="6807139" y="1102223"/>
            <a:ext cx="5045438" cy="5525604"/>
          </a:xfrm>
          <a:prstGeom prst="rect">
            <a:avLst/>
          </a:prstGeom>
        </p:spPr>
      </p:pic>
    </p:spTree>
    <p:extLst>
      <p:ext uri="{BB962C8B-B14F-4D97-AF65-F5344CB8AC3E}">
        <p14:creationId xmlns:p14="http://schemas.microsoft.com/office/powerpoint/2010/main" val="3297254105"/>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523"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xmlns=""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xmlns=""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xmlns=""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xmlns=""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xmlns=""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xmlns=""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Responsabilidades y Difusión</a:t>
            </a:r>
            <a:endParaRPr lang="es-CL" dirty="0">
              <a:solidFill>
                <a:srgbClr val="006D36"/>
              </a:solidFill>
            </a:endParaRPr>
          </a:p>
        </p:txBody>
      </p:sp>
      <p:sp>
        <p:nvSpPr>
          <p:cNvPr id="32" name="Marcador de texto 7">
            <a:extLst>
              <a:ext uri="{FF2B5EF4-FFF2-40B4-BE49-F238E27FC236}">
                <a16:creationId xmlns:a16="http://schemas.microsoft.com/office/drawing/2014/main" xmlns=""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Objetivos y Definiciones Generales</a:t>
            </a:r>
            <a:endParaRPr lang="es-CL" dirty="0">
              <a:solidFill>
                <a:srgbClr val="006D36"/>
              </a:solidFill>
            </a:endParaRPr>
          </a:p>
        </p:txBody>
      </p:sp>
      <p:sp>
        <p:nvSpPr>
          <p:cNvPr id="33" name="Marcador de texto 7">
            <a:extLst>
              <a:ext uri="{FF2B5EF4-FFF2-40B4-BE49-F238E27FC236}">
                <a16:creationId xmlns:a16="http://schemas.microsoft.com/office/drawing/2014/main" xmlns=""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 y Actualización Protocolo TMERT</a:t>
            </a:r>
            <a:endParaRPr lang="es-ES" dirty="0">
              <a:solidFill>
                <a:srgbClr val="006D36"/>
              </a:solidFill>
            </a:endParaRPr>
          </a:p>
        </p:txBody>
      </p:sp>
      <p:sp>
        <p:nvSpPr>
          <p:cNvPr id="35" name="Marcador de texto 7">
            <a:extLst>
              <a:ext uri="{FF2B5EF4-FFF2-40B4-BE49-F238E27FC236}">
                <a16:creationId xmlns:a16="http://schemas.microsoft.com/office/drawing/2014/main" xmlns=""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xmlns=""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xmlns=""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t>
            </a:r>
            <a:r>
              <a:rPr lang="es-ES" dirty="0" smtClean="0">
                <a:solidFill>
                  <a:srgbClr val="006D36"/>
                </a:solidFill>
              </a:rPr>
              <a:t>Ambiental</a:t>
            </a:r>
            <a:endParaRPr lang="es-CL" dirty="0">
              <a:solidFill>
                <a:srgbClr val="006D36"/>
              </a:solidFill>
            </a:endParaRPr>
          </a:p>
        </p:txBody>
      </p:sp>
      <p:sp>
        <p:nvSpPr>
          <p:cNvPr id="18" name="Marcador de texto 7">
            <a:extLst>
              <a:ext uri="{FF2B5EF4-FFF2-40B4-BE49-F238E27FC236}">
                <a16:creationId xmlns:a16="http://schemas.microsoft.com/office/drawing/2014/main" xmlns=""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a:t>
            </a:r>
            <a:r>
              <a:rPr lang="es-ES" dirty="0">
                <a:solidFill>
                  <a:srgbClr val="006D36"/>
                </a:solidFill>
              </a:rPr>
              <a:t>P</a:t>
            </a:r>
            <a:r>
              <a:rPr lang="es-ES" dirty="0" smtClean="0">
                <a:solidFill>
                  <a:srgbClr val="006D36"/>
                </a:solidFill>
              </a:rPr>
              <a:t>rotocolo </a:t>
            </a:r>
            <a:r>
              <a:rPr lang="es-ES" dirty="0">
                <a:solidFill>
                  <a:srgbClr val="006D36"/>
                </a:solidFill>
              </a:rPr>
              <a:t>TMERT</a:t>
            </a:r>
            <a:endParaRPr lang="es-CL" dirty="0">
              <a:solidFill>
                <a:srgbClr val="006D36"/>
              </a:solidFill>
            </a:endParaRPr>
          </a:p>
        </p:txBody>
      </p:sp>
      <p:sp>
        <p:nvSpPr>
          <p:cNvPr id="2" name="Marcador de texto 4">
            <a:extLst>
              <a:ext uri="{FF2B5EF4-FFF2-40B4-BE49-F238E27FC236}">
                <a16:creationId xmlns:a16="http://schemas.microsoft.com/office/drawing/2014/main" xmlns=""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69679109"/>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273356" cy="403187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n caso de responder en la identificación inicial al menos 1 SI, se deberá aplicar la identificación avanzada, para esto deberá utilizar:</a:t>
            </a:r>
          </a:p>
          <a:p>
            <a:pPr marL="0" indent="0" algn="just">
              <a:lnSpc>
                <a:spcPct val="100000"/>
              </a:lnSpc>
              <a:defRPr/>
            </a:pPr>
            <a:r>
              <a:rPr lang="es-CL" sz="1800" b="1" dirty="0">
                <a:solidFill>
                  <a:schemeClr val="bg1">
                    <a:lumMod val="50000"/>
                  </a:schemeClr>
                </a:solidFill>
              </a:rPr>
              <a:t>Tabla de Identificación avanzada – Condición Aceptable.</a:t>
            </a:r>
          </a:p>
          <a:p>
            <a:pPr marL="0" indent="0" algn="just">
              <a:lnSpc>
                <a:spcPct val="100000"/>
              </a:lnSpc>
              <a:defRPr/>
            </a:pPr>
            <a:r>
              <a:rPr lang="es-CL" sz="1800" dirty="0">
                <a:solidFill>
                  <a:schemeClr val="bg1">
                    <a:lumMod val="50000"/>
                  </a:schemeClr>
                </a:solidFill>
              </a:rPr>
              <a:t>En casos de Micro y Pequeña empresa, deberán contar con asistencia técnica del OAL.</a:t>
            </a:r>
          </a:p>
          <a:p>
            <a:pPr marL="0" indent="0" algn="just">
              <a:lnSpc>
                <a:spcPct val="100000"/>
              </a:lnSpc>
              <a:defRPr/>
            </a:pPr>
            <a:r>
              <a:rPr lang="es-CL" sz="1800" dirty="0">
                <a:solidFill>
                  <a:schemeClr val="bg1">
                    <a:lumMod val="50000"/>
                  </a:schemeClr>
                </a:solidFill>
              </a:rPr>
              <a:t>Si del resultado de esta aplicación, se identifica condición no aceptable, se deberá generar una nomina de trabajadores expuestos y aplicar:</a:t>
            </a:r>
          </a:p>
          <a:p>
            <a:pPr marL="0" indent="0" algn="just">
              <a:lnSpc>
                <a:spcPct val="100000"/>
              </a:lnSpc>
              <a:defRPr/>
            </a:pPr>
            <a:r>
              <a:rPr lang="es-CL" sz="1800" b="1" dirty="0">
                <a:solidFill>
                  <a:schemeClr val="bg1">
                    <a:lumMod val="50000"/>
                  </a:schemeClr>
                </a:solidFill>
              </a:rPr>
              <a:t>Tabla de Identificación avanzada – Condición Crítica.</a:t>
            </a:r>
          </a:p>
        </p:txBody>
      </p:sp>
      <p:pic>
        <p:nvPicPr>
          <p:cNvPr id="5" name="Imagen 4">
            <a:extLst>
              <a:ext uri="{FF2B5EF4-FFF2-40B4-BE49-F238E27FC236}">
                <a16:creationId xmlns:a16="http://schemas.microsoft.com/office/drawing/2014/main" xmlns="" id="{458DE7C0-45FD-AA0D-C19B-C3DC8804DD89}"/>
              </a:ext>
            </a:extLst>
          </p:cNvPr>
          <p:cNvPicPr>
            <a:picLocks noChangeAspect="1"/>
          </p:cNvPicPr>
          <p:nvPr/>
        </p:nvPicPr>
        <p:blipFill>
          <a:blip r:embed="rId3"/>
          <a:stretch>
            <a:fillRect/>
          </a:stretch>
        </p:blipFill>
        <p:spPr>
          <a:xfrm>
            <a:off x="6396619" y="1152520"/>
            <a:ext cx="5358817" cy="5573400"/>
          </a:xfrm>
          <a:prstGeom prst="rect">
            <a:avLst/>
          </a:prstGeom>
        </p:spPr>
      </p:pic>
    </p:spTree>
    <p:extLst>
      <p:ext uri="{BB962C8B-B14F-4D97-AF65-F5344CB8AC3E}">
        <p14:creationId xmlns:p14="http://schemas.microsoft.com/office/powerpoint/2010/main" val="2673401347"/>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273356" cy="387798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n caso de responder en la tabla de condiciones criticas, con al menos 1 respuesta </a:t>
            </a:r>
            <a:r>
              <a:rPr lang="es-CL" sz="1800" b="1" dirty="0">
                <a:solidFill>
                  <a:schemeClr val="bg1">
                    <a:lumMod val="50000"/>
                  </a:schemeClr>
                </a:solidFill>
              </a:rPr>
              <a:t>“SI”</a:t>
            </a:r>
            <a:r>
              <a:rPr lang="es-CL" sz="1800" dirty="0">
                <a:solidFill>
                  <a:schemeClr val="bg1">
                    <a:lumMod val="50000"/>
                  </a:schemeClr>
                </a:solidFill>
              </a:rPr>
              <a:t>, entonces se considera </a:t>
            </a:r>
            <a:r>
              <a:rPr lang="es-CL" sz="1800" b="1" dirty="0">
                <a:solidFill>
                  <a:schemeClr val="bg1">
                    <a:lumMod val="50000"/>
                  </a:schemeClr>
                </a:solidFill>
              </a:rPr>
              <a:t>riesgo critico </a:t>
            </a:r>
            <a:r>
              <a:rPr lang="es-CL" sz="1800" dirty="0">
                <a:solidFill>
                  <a:schemeClr val="bg1">
                    <a:lumMod val="50000"/>
                  </a:schemeClr>
                </a:solidFill>
              </a:rPr>
              <a:t>y se deberán implementar medidas de control en un plazo de </a:t>
            </a:r>
            <a:r>
              <a:rPr lang="es-CL" sz="1800" b="1" dirty="0">
                <a:solidFill>
                  <a:schemeClr val="bg1">
                    <a:lumMod val="50000"/>
                  </a:schemeClr>
                </a:solidFill>
              </a:rPr>
              <a:t>90 días</a:t>
            </a:r>
            <a:r>
              <a:rPr lang="es-CL" sz="1800" dirty="0">
                <a:solidFill>
                  <a:schemeClr val="bg1">
                    <a:lumMod val="50000"/>
                  </a:schemeClr>
                </a:solidFill>
              </a:rPr>
              <a:t>.</a:t>
            </a:r>
          </a:p>
          <a:p>
            <a:pPr marL="0" indent="0" algn="just">
              <a:lnSpc>
                <a:spcPct val="100000"/>
              </a:lnSpc>
              <a:defRPr/>
            </a:pPr>
            <a:endParaRPr lang="es-CL" sz="1800" b="1" dirty="0">
              <a:solidFill>
                <a:schemeClr val="bg1">
                  <a:lumMod val="50000"/>
                </a:schemeClr>
              </a:solidFill>
            </a:endParaRPr>
          </a:p>
          <a:p>
            <a:pPr marL="0" indent="0" algn="just">
              <a:lnSpc>
                <a:spcPct val="100000"/>
              </a:lnSpc>
              <a:defRPr/>
            </a:pPr>
            <a:r>
              <a:rPr lang="es-CL" sz="1800" dirty="0">
                <a:solidFill>
                  <a:schemeClr val="bg1">
                    <a:lumMod val="50000"/>
                  </a:schemeClr>
                </a:solidFill>
              </a:rPr>
              <a:t>Si todas las preguntas son respondidas </a:t>
            </a:r>
            <a:r>
              <a:rPr lang="es-CL" sz="1800" b="1" dirty="0">
                <a:solidFill>
                  <a:schemeClr val="bg1">
                    <a:lumMod val="50000"/>
                  </a:schemeClr>
                </a:solidFill>
              </a:rPr>
              <a:t>“NO”</a:t>
            </a:r>
            <a:r>
              <a:rPr lang="es-CL" sz="1800" dirty="0">
                <a:solidFill>
                  <a:schemeClr val="bg1">
                    <a:lumMod val="50000"/>
                  </a:schemeClr>
                </a:solidFill>
              </a:rPr>
              <a:t>, el riesgo debe ser considerado como </a:t>
            </a:r>
            <a:r>
              <a:rPr lang="es-CL" sz="1800" b="1" dirty="0">
                <a:solidFill>
                  <a:schemeClr val="bg1">
                    <a:lumMod val="50000"/>
                  </a:schemeClr>
                </a:solidFill>
              </a:rPr>
              <a:t>riesgo intermedio</a:t>
            </a:r>
            <a:r>
              <a:rPr lang="es-CL" sz="1800" dirty="0">
                <a:solidFill>
                  <a:schemeClr val="bg1">
                    <a:lumMod val="50000"/>
                  </a:schemeClr>
                </a:solidFill>
              </a:rPr>
              <a:t> por lo que se deberá evaluar la/s tarea(s) según Metodologías de </a:t>
            </a:r>
            <a:r>
              <a:rPr lang="es-CL" sz="1800" b="1" dirty="0">
                <a:solidFill>
                  <a:schemeClr val="bg1">
                    <a:lumMod val="50000"/>
                  </a:schemeClr>
                </a:solidFill>
              </a:rPr>
              <a:t>Evaluación Inicial</a:t>
            </a:r>
          </a:p>
          <a:p>
            <a:pPr marL="0" indent="0" algn="just">
              <a:lnSpc>
                <a:spcPct val="100000"/>
              </a:lnSpc>
              <a:defRPr/>
            </a:pPr>
            <a:endParaRPr lang="es-CL" sz="1800" b="1" dirty="0">
              <a:solidFill>
                <a:schemeClr val="bg1">
                  <a:lumMod val="50000"/>
                </a:schemeClr>
              </a:solidFill>
            </a:endParaRPr>
          </a:p>
        </p:txBody>
      </p:sp>
      <p:pic>
        <p:nvPicPr>
          <p:cNvPr id="5" name="Imagen 4">
            <a:extLst>
              <a:ext uri="{FF2B5EF4-FFF2-40B4-BE49-F238E27FC236}">
                <a16:creationId xmlns:a16="http://schemas.microsoft.com/office/drawing/2014/main" xmlns="" id="{9748D6C5-2AF3-CAFA-EDD8-58AF05EE02EE}"/>
              </a:ext>
            </a:extLst>
          </p:cNvPr>
          <p:cNvPicPr>
            <a:picLocks noChangeAspect="1"/>
          </p:cNvPicPr>
          <p:nvPr/>
        </p:nvPicPr>
        <p:blipFill>
          <a:blip r:embed="rId3"/>
          <a:stretch>
            <a:fillRect/>
          </a:stretch>
        </p:blipFill>
        <p:spPr>
          <a:xfrm>
            <a:off x="6027852" y="1507198"/>
            <a:ext cx="5536969" cy="2534285"/>
          </a:xfrm>
          <a:prstGeom prst="rect">
            <a:avLst/>
          </a:prstGeom>
        </p:spPr>
      </p:pic>
    </p:spTree>
    <p:extLst>
      <p:ext uri="{BB962C8B-B14F-4D97-AF65-F5344CB8AC3E}">
        <p14:creationId xmlns:p14="http://schemas.microsoft.com/office/powerpoint/2010/main" val="1802580642"/>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Identificación Avanzada</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273356" cy="2893100"/>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Si del resultado de esta aplicación, se identifica </a:t>
            </a:r>
            <a:r>
              <a:rPr lang="es-CL" sz="1800" b="1" dirty="0">
                <a:solidFill>
                  <a:schemeClr val="bg1">
                    <a:lumMod val="50000"/>
                  </a:schemeClr>
                </a:solidFill>
              </a:rPr>
              <a:t>condición no aceptable</a:t>
            </a:r>
            <a:r>
              <a:rPr lang="es-CL" sz="1800" dirty="0">
                <a:solidFill>
                  <a:schemeClr val="bg1">
                    <a:lumMod val="50000"/>
                  </a:schemeClr>
                </a:solidFill>
              </a:rPr>
              <a:t>, nos encontramos con trabajadores expuestos y se debe activar la </a:t>
            </a:r>
            <a:r>
              <a:rPr lang="es-CL" sz="1800" b="1" dirty="0">
                <a:solidFill>
                  <a:schemeClr val="bg1">
                    <a:lumMod val="50000"/>
                  </a:schemeClr>
                </a:solidFill>
              </a:rPr>
              <a:t>Vigilancia de Salud</a:t>
            </a:r>
          </a:p>
          <a:p>
            <a:pPr marL="0" indent="0" algn="just">
              <a:lnSpc>
                <a:spcPct val="100000"/>
              </a:lnSpc>
              <a:defRPr/>
            </a:pPr>
            <a:r>
              <a:rPr lang="es-CL" sz="1800" dirty="0">
                <a:solidFill>
                  <a:schemeClr val="bg1">
                    <a:lumMod val="50000"/>
                  </a:schemeClr>
                </a:solidFill>
              </a:rPr>
              <a:t>- En 5 días hábiles, el OAL en conjunto con la Entidad Empleadora deberán elaborar un listado de expuestos.</a:t>
            </a:r>
          </a:p>
          <a:p>
            <a:pPr marL="0" indent="0" algn="just">
              <a:lnSpc>
                <a:spcPct val="100000"/>
              </a:lnSpc>
              <a:defRPr/>
            </a:pPr>
            <a:r>
              <a:rPr lang="es-CL" sz="1800" dirty="0">
                <a:solidFill>
                  <a:schemeClr val="bg1">
                    <a:lumMod val="50000"/>
                  </a:schemeClr>
                </a:solidFill>
              </a:rPr>
              <a:t>- Empresa a</a:t>
            </a:r>
            <a:r>
              <a:rPr lang="es-ES" sz="1800" dirty="0">
                <a:solidFill>
                  <a:schemeClr val="bg1">
                    <a:lumMod val="50000"/>
                  </a:schemeClr>
                </a:solidFill>
              </a:rPr>
              <a:t>actualizará listado de expuestas cada 4 meses e informar al OAL.</a:t>
            </a:r>
            <a:endParaRPr lang="es-CL" sz="1800" dirty="0">
              <a:solidFill>
                <a:schemeClr val="bg1">
                  <a:lumMod val="50000"/>
                </a:schemeClr>
              </a:solidFill>
            </a:endParaRPr>
          </a:p>
        </p:txBody>
      </p:sp>
      <p:pic>
        <p:nvPicPr>
          <p:cNvPr id="2" name="Imagen 1">
            <a:extLst>
              <a:ext uri="{FF2B5EF4-FFF2-40B4-BE49-F238E27FC236}">
                <a16:creationId xmlns:a16="http://schemas.microsoft.com/office/drawing/2014/main" xmlns="" id="{3981C277-F259-B98A-6618-5FFA234E452A}"/>
              </a:ext>
            </a:extLst>
          </p:cNvPr>
          <p:cNvPicPr>
            <a:picLocks noChangeAspect="1"/>
          </p:cNvPicPr>
          <p:nvPr/>
        </p:nvPicPr>
        <p:blipFill>
          <a:blip r:embed="rId3"/>
          <a:stretch>
            <a:fillRect/>
          </a:stretch>
        </p:blipFill>
        <p:spPr>
          <a:xfrm>
            <a:off x="7168356" y="1306890"/>
            <a:ext cx="3544888" cy="4244220"/>
          </a:xfrm>
          <a:prstGeom prst="rect">
            <a:avLst/>
          </a:prstGeom>
        </p:spPr>
      </p:pic>
    </p:spTree>
    <p:extLst>
      <p:ext uri="{BB962C8B-B14F-4D97-AF65-F5344CB8AC3E}">
        <p14:creationId xmlns:p14="http://schemas.microsoft.com/office/powerpoint/2010/main" val="2848741754"/>
      </p:ext>
    </p:extLst>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Evaluación inicia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5" y="1507198"/>
            <a:ext cx="5763938" cy="443198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 El proceso de evaluación es responsabilidad del OAL</a:t>
            </a:r>
          </a:p>
          <a:p>
            <a:pPr marL="0" indent="0" algn="just">
              <a:lnSpc>
                <a:spcPct val="100000"/>
              </a:lnSpc>
              <a:defRPr/>
            </a:pPr>
            <a:r>
              <a:rPr lang="es-CL" sz="1800" dirty="0">
                <a:solidFill>
                  <a:schemeClr val="bg1">
                    <a:lumMod val="50000"/>
                  </a:schemeClr>
                </a:solidFill>
              </a:rPr>
              <a:t>- Debe ser realizada por profesionales que cuenten con las competencias y formación necesaria estipuladas en este protocolo.</a:t>
            </a:r>
          </a:p>
          <a:p>
            <a:pPr marL="0" indent="0" algn="just">
              <a:lnSpc>
                <a:spcPct val="100000"/>
              </a:lnSpc>
              <a:defRPr/>
            </a:pPr>
            <a:r>
              <a:rPr lang="es-CL" sz="1800" dirty="0">
                <a:solidFill>
                  <a:schemeClr val="bg1">
                    <a:lumMod val="50000"/>
                  </a:schemeClr>
                </a:solidFill>
              </a:rPr>
              <a:t>- Si resultado nivel Bajo o Aceptable, corresponde realizar una revisión periódica de la tarea cada 3 años.</a:t>
            </a:r>
          </a:p>
          <a:p>
            <a:pPr marL="0" indent="0" algn="just">
              <a:lnSpc>
                <a:spcPct val="100000"/>
              </a:lnSpc>
              <a:defRPr/>
            </a:pPr>
            <a:r>
              <a:rPr lang="es-CL" sz="1800" dirty="0">
                <a:solidFill>
                  <a:schemeClr val="bg1">
                    <a:lumMod val="50000"/>
                  </a:schemeClr>
                </a:solidFill>
              </a:rPr>
              <a:t>- Resultados con nivel de riesgo Medio/Alto o No Aceptable, se deberá priorizar la disminución de la exposición laboral a aquellos factores que poseen una mayor valoración según la aplicación del método, en un plazo máximo de 90 días, de manera de llevar la tarea a Nivel de Riesgo Bajo o Aceptable y reevaluar aplicando nuevamente la misma metodología de evaluación de primer nivel utilizada con anterioridad.</a:t>
            </a:r>
          </a:p>
        </p:txBody>
      </p:sp>
      <p:pic>
        <p:nvPicPr>
          <p:cNvPr id="2" name="Imagen 1">
            <a:extLst>
              <a:ext uri="{FF2B5EF4-FFF2-40B4-BE49-F238E27FC236}">
                <a16:creationId xmlns:a16="http://schemas.microsoft.com/office/drawing/2014/main" xmlns="" id="{3F6DE770-27E8-555E-497C-526772B883A4}"/>
              </a:ext>
            </a:extLst>
          </p:cNvPr>
          <p:cNvPicPr>
            <a:picLocks noChangeAspect="1"/>
          </p:cNvPicPr>
          <p:nvPr/>
        </p:nvPicPr>
        <p:blipFill>
          <a:blip r:embed="rId3"/>
          <a:stretch>
            <a:fillRect/>
          </a:stretch>
        </p:blipFill>
        <p:spPr>
          <a:xfrm>
            <a:off x="6346197" y="1602376"/>
            <a:ext cx="5678544" cy="4336805"/>
          </a:xfrm>
          <a:prstGeom prst="rect">
            <a:avLst/>
          </a:prstGeom>
        </p:spPr>
      </p:pic>
    </p:spTree>
    <p:extLst>
      <p:ext uri="{BB962C8B-B14F-4D97-AF65-F5344CB8AC3E}">
        <p14:creationId xmlns:p14="http://schemas.microsoft.com/office/powerpoint/2010/main" val="1618499747"/>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Evaluación Avanzada</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11013960" cy="4493538"/>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sta etapa será requerida si el resultado de la aplicación de la metodología de evaluación inicial expusiera a la tarea en nivel de riesgo Medio (Amarillo) o, una reevaluación con esta misma metodología posterior a la implementación de medidas correctivas, se obtuviera nuevamente un resultado en nivel de riesgo Alto (Rojo). </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Si el resultado es Aceptable se realizará una revisión periódica de la tarea cada 3 años, comenzando desde la Identificación Inicial como nueva evaluación.</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Para las tareas cuyo riesgo pueda ser mitigado a niveles aceptables y/o eliminado con:</a:t>
            </a:r>
          </a:p>
          <a:p>
            <a:pPr marL="285750" indent="-285750" algn="just">
              <a:lnSpc>
                <a:spcPct val="100000"/>
              </a:lnSpc>
              <a:buFontTx/>
              <a:buChar char="-"/>
              <a:defRPr/>
            </a:pPr>
            <a:r>
              <a:rPr lang="es-CL" sz="1800" dirty="0">
                <a:solidFill>
                  <a:schemeClr val="bg1">
                    <a:lumMod val="50000"/>
                  </a:schemeClr>
                </a:solidFill>
              </a:rPr>
              <a:t>medidas administrativas intervenir en máximo de 90 días.</a:t>
            </a:r>
          </a:p>
          <a:p>
            <a:pPr marL="285750" indent="-285750" algn="just">
              <a:lnSpc>
                <a:spcPct val="100000"/>
              </a:lnSpc>
              <a:buFontTx/>
              <a:buChar char="-"/>
              <a:defRPr/>
            </a:pPr>
            <a:r>
              <a:rPr lang="es-CL" sz="1800" dirty="0">
                <a:solidFill>
                  <a:schemeClr val="bg1">
                    <a:lumMod val="50000"/>
                  </a:schemeClr>
                </a:solidFill>
              </a:rPr>
              <a:t>medidas ingenieriles intervenir en máximo de 180 días.</a:t>
            </a:r>
          </a:p>
          <a:p>
            <a:pPr marL="0" indent="0" algn="just">
              <a:lnSpc>
                <a:spcPct val="100000"/>
              </a:lnSpc>
              <a:defRPr/>
            </a:pPr>
            <a:endParaRPr lang="es-CL" sz="1800" dirty="0">
              <a:solidFill>
                <a:schemeClr val="bg1">
                  <a:lumMod val="50000"/>
                </a:schemeClr>
              </a:solidFill>
            </a:endParaRPr>
          </a:p>
        </p:txBody>
      </p:sp>
    </p:spTree>
    <p:extLst>
      <p:ext uri="{BB962C8B-B14F-4D97-AF65-F5344CB8AC3E}">
        <p14:creationId xmlns:p14="http://schemas.microsoft.com/office/powerpoint/2010/main" val="657839339"/>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Medidas de control</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415596" cy="4031873"/>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gn="just">
              <a:lnSpc>
                <a:spcPct val="100000"/>
              </a:lnSpc>
              <a:buFontTx/>
              <a:buChar char="-"/>
              <a:defRPr/>
            </a:pPr>
            <a:r>
              <a:rPr lang="es-CL" sz="1800" dirty="0">
                <a:solidFill>
                  <a:schemeClr val="bg1">
                    <a:lumMod val="50000"/>
                  </a:schemeClr>
                </a:solidFill>
              </a:rPr>
              <a:t>El diseño e implementación de las medidas preventivas, debe conllevar un proceso participativo </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Tx/>
              <a:buChar char="-"/>
              <a:defRPr/>
            </a:pPr>
            <a:r>
              <a:rPr lang="es-CL" sz="1800" dirty="0">
                <a:solidFill>
                  <a:schemeClr val="bg1">
                    <a:lumMod val="50000"/>
                  </a:schemeClr>
                </a:solidFill>
              </a:rPr>
              <a:t>Las medidas deberán estar siempre jerarquizadas y priorizadas desde las ingenieriles y administrativas.</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Tx/>
              <a:buChar char="-"/>
              <a:defRPr/>
            </a:pPr>
            <a:r>
              <a:rPr lang="es-CL" sz="1800" dirty="0">
                <a:solidFill>
                  <a:schemeClr val="bg1">
                    <a:lumMod val="50000"/>
                  </a:schemeClr>
                </a:solidFill>
              </a:rPr>
              <a:t>Los incumplimientos de medidas prescriptivas, deberán ser informadas a la autoridad dentro de un plazo de 5 días hábiles posterior al plazo máximo de prescripción.</a:t>
            </a:r>
          </a:p>
        </p:txBody>
      </p:sp>
      <p:graphicFrame>
        <p:nvGraphicFramePr>
          <p:cNvPr id="2" name="Diagrama 1">
            <a:extLst>
              <a:ext uri="{FF2B5EF4-FFF2-40B4-BE49-F238E27FC236}">
                <a16:creationId xmlns:a16="http://schemas.microsoft.com/office/drawing/2014/main" xmlns="" id="{F066ED2F-478B-1ABB-42ED-2D8138D9EE57}"/>
              </a:ext>
            </a:extLst>
          </p:cNvPr>
          <p:cNvGraphicFramePr/>
          <p:nvPr>
            <p:extLst>
              <p:ext uri="{D42A27DB-BD31-4B8C-83A1-F6EECF244321}">
                <p14:modId xmlns:p14="http://schemas.microsoft.com/office/powerpoint/2010/main" val="2118031670"/>
              </p:ext>
            </p:extLst>
          </p:nvPr>
        </p:nvGraphicFramePr>
        <p:xfrm>
          <a:off x="6238240" y="1560620"/>
          <a:ext cx="5517196" cy="48403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14889947"/>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DDC1484A-D689-4D0A-94E1-E93BD4C39B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39" name="Diapositiva de think-cell" r:id="rId4" imgW="355" imgH="356" progId="TCLayout.ActiveDocument.1">
                  <p:embed/>
                </p:oleObj>
              </mc:Choice>
              <mc:Fallback>
                <p:oleObj name="Diapositiva de think-cell" r:id="rId4" imgW="355" imgH="35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Flujo actualización protocolo TMERT</a:t>
            </a:r>
          </a:p>
        </p:txBody>
      </p:sp>
      <p:cxnSp>
        <p:nvCxnSpPr>
          <p:cNvPr id="9" name="Conector recto 18">
            <a:extLst>
              <a:ext uri="{FF2B5EF4-FFF2-40B4-BE49-F238E27FC236}">
                <a16:creationId xmlns:a16="http://schemas.microsoft.com/office/drawing/2014/main" xmlns=""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xmlns="" id="{3471817B-C2D0-7540-9676-0765FA1163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pic>
        <p:nvPicPr>
          <p:cNvPr id="4" name="Imagen 3" descr="Interfaz de usuario gráfica, Aplicación, Word&#10;&#10;Descripción generada automáticamente">
            <a:extLst>
              <a:ext uri="{FF2B5EF4-FFF2-40B4-BE49-F238E27FC236}">
                <a16:creationId xmlns:a16="http://schemas.microsoft.com/office/drawing/2014/main" xmlns="" id="{4ABB8ADE-2790-FA17-FFC0-364C6C6E74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1805580"/>
            <a:ext cx="12192000" cy="3246840"/>
          </a:xfrm>
          <a:prstGeom prst="rect">
            <a:avLst/>
          </a:prstGeom>
        </p:spPr>
      </p:pic>
    </p:spTree>
    <p:extLst>
      <p:ext uri="{BB962C8B-B14F-4D97-AF65-F5344CB8AC3E}">
        <p14:creationId xmlns:p14="http://schemas.microsoft.com/office/powerpoint/2010/main" val="4221220658"/>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DDC1484A-D689-4D0A-94E1-E93BD4C39B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2663" name="Diapositiva de think-cell" r:id="rId4" imgW="355" imgH="356" progId="TCLayout.ActiveDocument.1">
                  <p:embed/>
                </p:oleObj>
              </mc:Choice>
              <mc:Fallback>
                <p:oleObj name="Diapositiva de think-cell" r:id="rId4" imgW="355" imgH="35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Flujo actualización protocolo TMERT</a:t>
            </a:r>
          </a:p>
        </p:txBody>
      </p:sp>
      <p:cxnSp>
        <p:nvCxnSpPr>
          <p:cNvPr id="9" name="Conector recto 18">
            <a:extLst>
              <a:ext uri="{FF2B5EF4-FFF2-40B4-BE49-F238E27FC236}">
                <a16:creationId xmlns:a16="http://schemas.microsoft.com/office/drawing/2014/main" xmlns=""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040934A0-007D-C833-07E8-BF509271519B}"/>
              </a:ext>
            </a:extLst>
          </p:cNvPr>
          <p:cNvPicPr>
            <a:picLocks noChangeAspect="1"/>
          </p:cNvPicPr>
          <p:nvPr/>
        </p:nvPicPr>
        <p:blipFill>
          <a:blip r:embed="rId6"/>
          <a:stretch>
            <a:fillRect/>
          </a:stretch>
        </p:blipFill>
        <p:spPr>
          <a:xfrm>
            <a:off x="115252" y="942877"/>
            <a:ext cx="11961496" cy="5489953"/>
          </a:xfrm>
          <a:prstGeom prst="rect">
            <a:avLst/>
          </a:prstGeom>
          <a:ln>
            <a:solidFill>
              <a:schemeClr val="bg2"/>
            </a:solidFill>
          </a:ln>
        </p:spPr>
      </p:pic>
    </p:spTree>
    <p:extLst>
      <p:ext uri="{BB962C8B-B14F-4D97-AF65-F5344CB8AC3E}">
        <p14:creationId xmlns:p14="http://schemas.microsoft.com/office/powerpoint/2010/main" val="1452539663"/>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DDC1484A-D689-4D0A-94E1-E93BD4C39B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87" name="Diapositiva de think-cell" r:id="rId4" imgW="355" imgH="356" progId="TCLayout.ActiveDocument.1">
                  <p:embed/>
                </p:oleObj>
              </mc:Choice>
              <mc:Fallback>
                <p:oleObj name="Diapositiva de think-cell" r:id="rId4" imgW="355" imgH="35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Flujo actualización protocolo TMERT</a:t>
            </a:r>
          </a:p>
        </p:txBody>
      </p:sp>
      <p:cxnSp>
        <p:nvCxnSpPr>
          <p:cNvPr id="9" name="Conector recto 18">
            <a:extLst>
              <a:ext uri="{FF2B5EF4-FFF2-40B4-BE49-F238E27FC236}">
                <a16:creationId xmlns:a16="http://schemas.microsoft.com/office/drawing/2014/main" xmlns=""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B9A7B0F1-87A5-D3D6-56E5-DF9E86677702}"/>
              </a:ext>
            </a:extLst>
          </p:cNvPr>
          <p:cNvPicPr>
            <a:picLocks noChangeAspect="1"/>
          </p:cNvPicPr>
          <p:nvPr/>
        </p:nvPicPr>
        <p:blipFill>
          <a:blip r:embed="rId6"/>
          <a:stretch>
            <a:fillRect/>
          </a:stretch>
        </p:blipFill>
        <p:spPr>
          <a:xfrm>
            <a:off x="243840" y="1128809"/>
            <a:ext cx="11737976" cy="4785483"/>
          </a:xfrm>
          <a:prstGeom prst="rect">
            <a:avLst/>
          </a:prstGeom>
          <a:ln>
            <a:solidFill>
              <a:schemeClr val="bg2"/>
            </a:solidFill>
          </a:ln>
        </p:spPr>
      </p:pic>
    </p:spTree>
    <p:extLst>
      <p:ext uri="{BB962C8B-B14F-4D97-AF65-F5344CB8AC3E}">
        <p14:creationId xmlns:p14="http://schemas.microsoft.com/office/powerpoint/2010/main" val="1100005002"/>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DDC1484A-D689-4D0A-94E1-E93BD4C39B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711" name="Diapositiva de think-cell" r:id="rId4" imgW="355" imgH="356" progId="TCLayout.ActiveDocument.1">
                  <p:embed/>
                </p:oleObj>
              </mc:Choice>
              <mc:Fallback>
                <p:oleObj name="Diapositiva de think-cell" r:id="rId4" imgW="355" imgH="35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Flujo actualización protocolo TMERT</a:t>
            </a:r>
          </a:p>
        </p:txBody>
      </p:sp>
      <p:cxnSp>
        <p:nvCxnSpPr>
          <p:cNvPr id="9" name="Conector recto 18">
            <a:extLst>
              <a:ext uri="{FF2B5EF4-FFF2-40B4-BE49-F238E27FC236}">
                <a16:creationId xmlns:a16="http://schemas.microsoft.com/office/drawing/2014/main" xmlns=""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3F5B6AC9-0258-B046-6AF7-7F7590D9AD39}"/>
              </a:ext>
            </a:extLst>
          </p:cNvPr>
          <p:cNvPicPr>
            <a:picLocks noChangeAspect="1"/>
          </p:cNvPicPr>
          <p:nvPr/>
        </p:nvPicPr>
        <p:blipFill>
          <a:blip r:embed="rId6"/>
          <a:stretch>
            <a:fillRect/>
          </a:stretch>
        </p:blipFill>
        <p:spPr>
          <a:xfrm>
            <a:off x="1219200" y="942877"/>
            <a:ext cx="9133840" cy="5793530"/>
          </a:xfrm>
          <a:prstGeom prst="rect">
            <a:avLst/>
          </a:prstGeom>
          <a:ln>
            <a:solidFill>
              <a:schemeClr val="bg2"/>
            </a:solidFill>
          </a:ln>
        </p:spPr>
      </p:pic>
    </p:spTree>
    <p:extLst>
      <p:ext uri="{BB962C8B-B14F-4D97-AF65-F5344CB8AC3E}">
        <p14:creationId xmlns:p14="http://schemas.microsoft.com/office/powerpoint/2010/main" val="315489826"/>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ontexto</a:t>
            </a:r>
          </a:p>
        </p:txBody>
      </p:sp>
      <p:sp>
        <p:nvSpPr>
          <p:cNvPr id="9" name="Marcador de texto 7">
            <a:extLst>
              <a:ext uri="{FF2B5EF4-FFF2-40B4-BE49-F238E27FC236}">
                <a16:creationId xmlns:a16="http://schemas.microsoft.com/office/drawing/2014/main" xmlns="" id="{5EF7F189-5C98-BB41-B9E6-CD55ED441D8B}"/>
              </a:ext>
            </a:extLst>
          </p:cNvPr>
          <p:cNvSpPr txBox="1">
            <a:spLocks/>
          </p:cNvSpPr>
          <p:nvPr/>
        </p:nvSpPr>
        <p:spPr>
          <a:xfrm>
            <a:off x="449262" y="872882"/>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Actualización protocolo vigilancia trabajadores expuestos a factores de riesgo trastornos musculoesqueléticos.</a:t>
            </a:r>
            <a:endParaRPr lang="es-CL" dirty="0">
              <a:solidFill>
                <a:srgbClr val="006D36"/>
              </a:solidFill>
            </a:endParaRP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6435632" y="1507198"/>
            <a:ext cx="5014891" cy="4647426"/>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2000" b="1" dirty="0">
                <a:solidFill>
                  <a:schemeClr val="bg1">
                    <a:lumMod val="50000"/>
                  </a:schemeClr>
                </a:solidFill>
              </a:rPr>
              <a:t>Actualiza</a:t>
            </a:r>
            <a:r>
              <a:rPr lang="es-CL" sz="1800" dirty="0">
                <a:solidFill>
                  <a:schemeClr val="bg1">
                    <a:lumMod val="50000"/>
                  </a:schemeClr>
                </a:solidFill>
              </a:rPr>
              <a:t> la vigilancia ambiental y de salud a los trabajadores expuestos a factores de riesgo trastornos musculoesqueléticos.</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Los factores de riesgo que integra esta actualización son los siguientes:</a:t>
            </a:r>
          </a:p>
          <a:p>
            <a:pPr marL="0" indent="0" algn="just">
              <a:lnSpc>
                <a:spcPct val="100000"/>
              </a:lnSpc>
              <a:defRPr/>
            </a:pPr>
            <a:endParaRPr lang="es-CL" sz="1800" dirty="0">
              <a:solidFill>
                <a:schemeClr val="bg1">
                  <a:lumMod val="50000"/>
                </a:schemeClr>
              </a:solidFill>
            </a:endParaRP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Trabajo repetitivo de miembros superiore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Postura de trabajo estático</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Manipulación manual de carga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Manejo manual de personas/pacientes</a:t>
            </a:r>
          </a:p>
          <a:p>
            <a:pPr marL="285750" indent="-285750" algn="just">
              <a:lnSpc>
                <a:spcPct val="100000"/>
              </a:lnSpc>
              <a:buFont typeface="Arial" panose="020B0604020202020204" pitchFamily="34" charset="0"/>
              <a:buChar char="•"/>
              <a:defRPr/>
            </a:pPr>
            <a:r>
              <a:rPr lang="es-CL" sz="1800" dirty="0">
                <a:solidFill>
                  <a:schemeClr val="bg1">
                    <a:lumMod val="50000"/>
                  </a:schemeClr>
                </a:solidFill>
              </a:rPr>
              <a:t>Vibración cuerpo completo / Mano-Brazo</a:t>
            </a:r>
          </a:p>
        </p:txBody>
      </p:sp>
      <p:pic>
        <p:nvPicPr>
          <p:cNvPr id="10" name="Imagen 9">
            <a:extLst>
              <a:ext uri="{FF2B5EF4-FFF2-40B4-BE49-F238E27FC236}">
                <a16:creationId xmlns:a16="http://schemas.microsoft.com/office/drawing/2014/main" xmlns="" id="{4E97FD0B-5FB2-6E6E-0749-B6B4DF74F33F}"/>
              </a:ext>
            </a:extLst>
          </p:cNvPr>
          <p:cNvPicPr>
            <a:picLocks noChangeAspect="1"/>
          </p:cNvPicPr>
          <p:nvPr/>
        </p:nvPicPr>
        <p:blipFill>
          <a:blip r:embed="rId3"/>
          <a:stretch>
            <a:fillRect/>
          </a:stretch>
        </p:blipFill>
        <p:spPr>
          <a:xfrm>
            <a:off x="449262" y="1581643"/>
            <a:ext cx="2638913" cy="4053840"/>
          </a:xfrm>
          <a:prstGeom prst="rect">
            <a:avLst/>
          </a:prstGeom>
          <a:ln>
            <a:solidFill>
              <a:schemeClr val="tx1"/>
            </a:solidFill>
          </a:ln>
        </p:spPr>
      </p:pic>
      <p:pic>
        <p:nvPicPr>
          <p:cNvPr id="16" name="Imagen 15">
            <a:extLst>
              <a:ext uri="{FF2B5EF4-FFF2-40B4-BE49-F238E27FC236}">
                <a16:creationId xmlns:a16="http://schemas.microsoft.com/office/drawing/2014/main" xmlns="" id="{64E003C2-9C89-07F8-E412-EEF0C13B5013}"/>
              </a:ext>
            </a:extLst>
          </p:cNvPr>
          <p:cNvPicPr>
            <a:picLocks noChangeAspect="1"/>
          </p:cNvPicPr>
          <p:nvPr/>
        </p:nvPicPr>
        <p:blipFill>
          <a:blip r:embed="rId4"/>
          <a:stretch>
            <a:fillRect/>
          </a:stretch>
        </p:blipFill>
        <p:spPr>
          <a:xfrm>
            <a:off x="3570878" y="2878481"/>
            <a:ext cx="2382050" cy="3553142"/>
          </a:xfrm>
          <a:prstGeom prst="rect">
            <a:avLst/>
          </a:prstGeom>
          <a:ln>
            <a:solidFill>
              <a:schemeClr val="tx1"/>
            </a:solidFill>
          </a:ln>
        </p:spPr>
      </p:pic>
    </p:spTree>
    <p:extLst>
      <p:ext uri="{BB962C8B-B14F-4D97-AF65-F5344CB8AC3E}">
        <p14:creationId xmlns:p14="http://schemas.microsoft.com/office/powerpoint/2010/main" val="937872508"/>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695369"/>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731"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xmlns=""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xmlns=""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xmlns=""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xmlns=""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xmlns=""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xmlns=""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Responsabilidades y Difusión</a:t>
            </a:r>
            <a:endParaRPr lang="es-CL" dirty="0">
              <a:solidFill>
                <a:srgbClr val="006D36"/>
              </a:solidFill>
            </a:endParaRPr>
          </a:p>
        </p:txBody>
      </p:sp>
      <p:sp>
        <p:nvSpPr>
          <p:cNvPr id="32" name="Marcador de texto 7">
            <a:extLst>
              <a:ext uri="{FF2B5EF4-FFF2-40B4-BE49-F238E27FC236}">
                <a16:creationId xmlns:a16="http://schemas.microsoft.com/office/drawing/2014/main" xmlns=""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Objetivos y Definiciones Generales</a:t>
            </a:r>
            <a:endParaRPr lang="es-CL" dirty="0">
              <a:solidFill>
                <a:srgbClr val="006D36"/>
              </a:solidFill>
            </a:endParaRPr>
          </a:p>
        </p:txBody>
      </p:sp>
      <p:sp>
        <p:nvSpPr>
          <p:cNvPr id="33" name="Marcador de texto 7">
            <a:extLst>
              <a:ext uri="{FF2B5EF4-FFF2-40B4-BE49-F238E27FC236}">
                <a16:creationId xmlns:a16="http://schemas.microsoft.com/office/drawing/2014/main" xmlns=""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 y Actualización Protocolo TMERT</a:t>
            </a:r>
            <a:endParaRPr lang="es-ES" dirty="0">
              <a:solidFill>
                <a:srgbClr val="006D36"/>
              </a:solidFill>
            </a:endParaRPr>
          </a:p>
        </p:txBody>
      </p:sp>
      <p:sp>
        <p:nvSpPr>
          <p:cNvPr id="35" name="Marcador de texto 7">
            <a:extLst>
              <a:ext uri="{FF2B5EF4-FFF2-40B4-BE49-F238E27FC236}">
                <a16:creationId xmlns:a16="http://schemas.microsoft.com/office/drawing/2014/main" xmlns=""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xmlns=""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xmlns=""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t>
            </a:r>
            <a:r>
              <a:rPr lang="es-ES" dirty="0" smtClean="0">
                <a:solidFill>
                  <a:srgbClr val="006D36"/>
                </a:solidFill>
              </a:rPr>
              <a:t>Ambiental</a:t>
            </a:r>
            <a:endParaRPr lang="es-CL" dirty="0">
              <a:solidFill>
                <a:srgbClr val="006D36"/>
              </a:solidFill>
            </a:endParaRPr>
          </a:p>
        </p:txBody>
      </p:sp>
      <p:sp>
        <p:nvSpPr>
          <p:cNvPr id="18" name="Marcador de texto 7">
            <a:extLst>
              <a:ext uri="{FF2B5EF4-FFF2-40B4-BE49-F238E27FC236}">
                <a16:creationId xmlns:a16="http://schemas.microsoft.com/office/drawing/2014/main" xmlns=""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a:t>
            </a:r>
            <a:r>
              <a:rPr lang="es-ES" dirty="0">
                <a:solidFill>
                  <a:srgbClr val="006D36"/>
                </a:solidFill>
              </a:rPr>
              <a:t>P</a:t>
            </a:r>
            <a:r>
              <a:rPr lang="es-ES" dirty="0" smtClean="0">
                <a:solidFill>
                  <a:srgbClr val="006D36"/>
                </a:solidFill>
              </a:rPr>
              <a:t>rotocolo </a:t>
            </a:r>
            <a:r>
              <a:rPr lang="es-ES" dirty="0">
                <a:solidFill>
                  <a:srgbClr val="006D36"/>
                </a:solidFill>
              </a:rPr>
              <a:t>TMERT</a:t>
            </a:r>
            <a:endParaRPr lang="es-CL" dirty="0">
              <a:solidFill>
                <a:srgbClr val="006D36"/>
              </a:solidFill>
            </a:endParaRPr>
          </a:p>
        </p:txBody>
      </p:sp>
      <p:sp>
        <p:nvSpPr>
          <p:cNvPr id="2" name="Marcador de texto 4">
            <a:extLst>
              <a:ext uri="{FF2B5EF4-FFF2-40B4-BE49-F238E27FC236}">
                <a16:creationId xmlns:a16="http://schemas.microsoft.com/office/drawing/2014/main" xmlns=""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3896890731"/>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Objetivo</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cxnSp>
        <p:nvCxnSpPr>
          <p:cNvPr id="24" name="Conector recto 23">
            <a:extLst>
              <a:ext uri="{FF2B5EF4-FFF2-40B4-BE49-F238E27FC236}">
                <a16:creationId xmlns:a16="http://schemas.microsoft.com/office/drawing/2014/main" xmlns="" id="{BF83CADD-A2B9-9A8C-324C-1DE8B67FBF1F}"/>
              </a:ext>
            </a:extLst>
          </p:cNvPr>
          <p:cNvCxnSpPr/>
          <p:nvPr/>
        </p:nvCxnSpPr>
        <p:spPr>
          <a:xfrm>
            <a:off x="687893" y="6279043"/>
            <a:ext cx="10930758" cy="0"/>
          </a:xfrm>
          <a:prstGeom prst="line">
            <a:avLst/>
          </a:prstGeom>
          <a:noFill/>
          <a:ln w="3175" cap="flat">
            <a:solidFill>
              <a:schemeClr val="bg1">
                <a:lumMod val="65000"/>
              </a:schemeClr>
            </a:solidFill>
            <a:prstDash val="solid"/>
            <a:miter lim="400000"/>
          </a:ln>
          <a:effectLst/>
          <a:sp3d/>
        </p:spPr>
        <p:style>
          <a:lnRef idx="0">
            <a:scrgbClr r="0" g="0" b="0"/>
          </a:lnRef>
          <a:fillRef idx="0">
            <a:scrgbClr r="0" g="0" b="0"/>
          </a:fillRef>
          <a:effectRef idx="0">
            <a:scrgbClr r="0" g="0" b="0"/>
          </a:effectRef>
          <a:fontRef idx="none"/>
        </p:style>
      </p:cxnSp>
      <p:sp>
        <p:nvSpPr>
          <p:cNvPr id="27" name="Rectángulo: esquinas redondeadas 26">
            <a:extLst>
              <a:ext uri="{FF2B5EF4-FFF2-40B4-BE49-F238E27FC236}">
                <a16:creationId xmlns:a16="http://schemas.microsoft.com/office/drawing/2014/main" xmlns="" id="{8A0076F7-E583-3233-7431-FAFA77DA7644}"/>
              </a:ext>
            </a:extLst>
          </p:cNvPr>
          <p:cNvSpPr/>
          <p:nvPr/>
        </p:nvSpPr>
        <p:spPr>
          <a:xfrm>
            <a:off x="776902" y="2426949"/>
            <a:ext cx="10428646" cy="1657349"/>
          </a:xfrm>
          <a:prstGeom prst="roundRect">
            <a:avLst>
              <a:gd name="adj" fmla="val 12289"/>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just" defTabSz="825500" rtl="0" fontAlgn="auto" latinLnBrk="0" hangingPunct="0">
              <a:lnSpc>
                <a:spcPct val="100000"/>
              </a:lnSpc>
              <a:spcBef>
                <a:spcPts val="0"/>
              </a:spcBef>
              <a:spcAft>
                <a:spcPts val="0"/>
              </a:spcAft>
              <a:buClrTx/>
              <a:buSzTx/>
              <a:buFontTx/>
              <a:buNone/>
              <a:tabLst/>
            </a:pPr>
            <a:r>
              <a:rPr kumimoji="0" lang="es-CL" sz="2000" b="1"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rPr>
              <a:t>Establece un sistema integral de monitoreo y seguimiento </a:t>
            </a:r>
            <a:r>
              <a:rPr kumimoji="0" lang="es-CL" sz="16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rPr>
              <a:t>que permita identificar, prevenir y controlar los factores de riesgo ambientales y laborales asociados a las enfermedades musculoesqueléticas, con el fin de promover ambientes de trabajo saludables y reducir la incidencia y el impacto de estas enfermedades en la población trabajadora en chile</a:t>
            </a:r>
          </a:p>
        </p:txBody>
      </p:sp>
    </p:spTree>
    <p:extLst>
      <p:ext uri="{BB962C8B-B14F-4D97-AF65-F5344CB8AC3E}">
        <p14:creationId xmlns:p14="http://schemas.microsoft.com/office/powerpoint/2010/main" val="95826478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2545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Objetivos específicos</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4" name="Rectángulo: esquinas redondeadas 23">
            <a:extLst>
              <a:ext uri="{FF2B5EF4-FFF2-40B4-BE49-F238E27FC236}">
                <a16:creationId xmlns:a16="http://schemas.microsoft.com/office/drawing/2014/main" xmlns="" id="{E3EC9008-C372-DFF2-D6CB-421A2A218209}"/>
              </a:ext>
            </a:extLst>
          </p:cNvPr>
          <p:cNvSpPr/>
          <p:nvPr/>
        </p:nvSpPr>
        <p:spPr>
          <a:xfrm>
            <a:off x="98872"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b="1" dirty="0">
                <a:solidFill>
                  <a:schemeClr val="tx1">
                    <a:lumMod val="75000"/>
                    <a:lumOff val="25000"/>
                  </a:schemeClr>
                </a:solidFill>
                <a:latin typeface="+mj-lt"/>
                <a:sym typeface="Helvetica Neue Medium"/>
              </a:rPr>
              <a:t>Estandarizar el proceso </a:t>
            </a:r>
            <a:r>
              <a:rPr lang="es-CL" sz="1400" dirty="0">
                <a:solidFill>
                  <a:schemeClr val="tx1">
                    <a:lumMod val="75000"/>
                    <a:lumOff val="25000"/>
                  </a:schemeClr>
                </a:solidFill>
                <a:latin typeface="+mj-lt"/>
                <a:sym typeface="Helvetica Neue Medium"/>
              </a:rPr>
              <a:t>de vigilancia ambiental de los factores de riesgo.</a:t>
            </a:r>
          </a:p>
        </p:txBody>
      </p:sp>
      <p:sp>
        <p:nvSpPr>
          <p:cNvPr id="25" name="Rectángulo: esquinas redondeadas 24">
            <a:extLst>
              <a:ext uri="{FF2B5EF4-FFF2-40B4-BE49-F238E27FC236}">
                <a16:creationId xmlns:a16="http://schemas.microsoft.com/office/drawing/2014/main" xmlns="" id="{17CC49E1-D920-9093-6DB8-186B75AB90F0}"/>
              </a:ext>
            </a:extLst>
          </p:cNvPr>
          <p:cNvSpPr/>
          <p:nvPr/>
        </p:nvSpPr>
        <p:spPr>
          <a:xfrm>
            <a:off x="3600322" y="1886255"/>
            <a:ext cx="1615215"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Identificar los </a:t>
            </a:r>
            <a:r>
              <a:rPr lang="es-CL" sz="1400" b="1" dirty="0">
                <a:solidFill>
                  <a:schemeClr val="tx1">
                    <a:lumMod val="75000"/>
                    <a:lumOff val="25000"/>
                  </a:schemeClr>
                </a:solidFill>
                <a:latin typeface="+mj-lt"/>
                <a:ea typeface="Helvetica Neue Medium"/>
                <a:cs typeface="Helvetica Neue Medium"/>
                <a:sym typeface="Helvetica Neue Medium"/>
              </a:rPr>
              <a:t>trabajadores expuestos </a:t>
            </a:r>
            <a:r>
              <a:rPr lang="es-CL" sz="1400" dirty="0">
                <a:solidFill>
                  <a:schemeClr val="tx1">
                    <a:lumMod val="75000"/>
                    <a:lumOff val="25000"/>
                  </a:schemeClr>
                </a:solidFill>
                <a:latin typeface="+mj-lt"/>
                <a:ea typeface="Helvetica Neue Medium"/>
                <a:cs typeface="Helvetica Neue Medium"/>
                <a:sym typeface="Helvetica Neue Medium"/>
              </a:rPr>
              <a:t>a factores de riesgo en todos los rubros que requieran vigilancia a la salud.</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a:p>
            <a:pPr marL="0" marR="0" indent="0" algn="ctr" defTabSz="825500" rtl="0" fontAlgn="auto" latinLnBrk="0" hangingPunct="0">
              <a:lnSpc>
                <a:spcPct val="100000"/>
              </a:lnSpc>
              <a:spcBef>
                <a:spcPts val="0"/>
              </a:spcBef>
              <a:spcAft>
                <a:spcPts val="0"/>
              </a:spcAft>
              <a:buClrTx/>
              <a:buSzTx/>
              <a:buFontTx/>
              <a:buNone/>
              <a:tabLst/>
            </a:pP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26" name="Rectángulo: esquinas redondeadas 25">
            <a:extLst>
              <a:ext uri="{FF2B5EF4-FFF2-40B4-BE49-F238E27FC236}">
                <a16:creationId xmlns:a16="http://schemas.microsoft.com/office/drawing/2014/main" xmlns="" id="{0E92D996-F795-CCE3-107F-39ADB14F08C4}"/>
              </a:ext>
            </a:extLst>
          </p:cNvPr>
          <p:cNvSpPr/>
          <p:nvPr/>
        </p:nvSpPr>
        <p:spPr>
          <a:xfrm>
            <a:off x="5319721" y="1886249"/>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Realizar </a:t>
            </a:r>
            <a:r>
              <a:rPr lang="es-CL" sz="1400" b="1" dirty="0">
                <a:solidFill>
                  <a:schemeClr val="tx1">
                    <a:lumMod val="75000"/>
                    <a:lumOff val="25000"/>
                  </a:schemeClr>
                </a:solidFill>
                <a:latin typeface="+mj-lt"/>
                <a:ea typeface="Helvetica Neue Medium"/>
                <a:cs typeface="Helvetica Neue Medium"/>
                <a:sym typeface="Helvetica Neue Medium"/>
              </a:rPr>
              <a:t>pesquisa precoz </a:t>
            </a:r>
            <a:r>
              <a:rPr lang="es-CL" sz="1400" dirty="0">
                <a:solidFill>
                  <a:schemeClr val="tx1">
                    <a:lumMod val="75000"/>
                    <a:lumOff val="25000"/>
                  </a:schemeClr>
                </a:solidFill>
                <a:latin typeface="+mj-lt"/>
                <a:ea typeface="Helvetica Neue Medium"/>
                <a:cs typeface="Helvetica Neue Medium"/>
                <a:sym typeface="Helvetica Neue Medium"/>
              </a:rPr>
              <a:t>de enfermedades profesionales.</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27" name="Rectángulo: esquinas redondeadas 26">
            <a:extLst>
              <a:ext uri="{FF2B5EF4-FFF2-40B4-BE49-F238E27FC236}">
                <a16:creationId xmlns:a16="http://schemas.microsoft.com/office/drawing/2014/main" xmlns="" id="{6DD2C7E9-CFEC-4F44-31D8-DAE22B321593}"/>
              </a:ext>
            </a:extLst>
          </p:cNvPr>
          <p:cNvSpPr/>
          <p:nvPr/>
        </p:nvSpPr>
        <p:spPr>
          <a:xfrm>
            <a:off x="1854697"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algn="ctr"/>
            <a:r>
              <a:rPr lang="es-CL" sz="1400" dirty="0">
                <a:solidFill>
                  <a:schemeClr val="tx1">
                    <a:lumMod val="75000"/>
                    <a:lumOff val="25000"/>
                  </a:schemeClr>
                </a:solidFill>
                <a:latin typeface="+mj-lt"/>
              </a:rPr>
              <a:t>Establecer </a:t>
            </a:r>
            <a:r>
              <a:rPr lang="es-CL" sz="1400" b="1" dirty="0">
                <a:solidFill>
                  <a:schemeClr val="tx1">
                    <a:lumMod val="75000"/>
                    <a:lumOff val="25000"/>
                  </a:schemeClr>
                </a:solidFill>
                <a:latin typeface="+mj-lt"/>
              </a:rPr>
              <a:t>criterios preventivos </a:t>
            </a:r>
            <a:r>
              <a:rPr lang="es-CL" sz="1400" dirty="0">
                <a:solidFill>
                  <a:schemeClr val="tx1">
                    <a:lumMod val="75000"/>
                    <a:lumOff val="25000"/>
                  </a:schemeClr>
                </a:solidFill>
                <a:latin typeface="+mj-lt"/>
              </a:rPr>
              <a:t>para la periodicidad de las evaluaciones ambientales.</a:t>
            </a:r>
          </a:p>
          <a:p>
            <a:pPr algn="ctr"/>
            <a:endParaRPr lang="es-CL" sz="1400" dirty="0">
              <a:solidFill>
                <a:schemeClr val="tx1">
                  <a:lumMod val="75000"/>
                  <a:lumOff val="25000"/>
                </a:schemeClr>
              </a:solidFill>
              <a:latin typeface="+mj-lt"/>
            </a:endParaRPr>
          </a:p>
        </p:txBody>
      </p:sp>
      <p:sp>
        <p:nvSpPr>
          <p:cNvPr id="2" name="Rectángulo: esquinas redondeadas 1">
            <a:extLst>
              <a:ext uri="{FF2B5EF4-FFF2-40B4-BE49-F238E27FC236}">
                <a16:creationId xmlns:a16="http://schemas.microsoft.com/office/drawing/2014/main" xmlns="" id="{A3E658DD-8BD8-0A56-2AC6-C2F44A47452D}"/>
              </a:ext>
            </a:extLst>
          </p:cNvPr>
          <p:cNvSpPr/>
          <p:nvPr/>
        </p:nvSpPr>
        <p:spPr>
          <a:xfrm>
            <a:off x="7039118"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Aportar datos e información relevante a los </a:t>
            </a:r>
            <a:r>
              <a:rPr lang="es-CL" sz="1400" b="1" dirty="0">
                <a:solidFill>
                  <a:schemeClr val="tx1">
                    <a:lumMod val="75000"/>
                    <a:lumOff val="25000"/>
                  </a:schemeClr>
                </a:solidFill>
                <a:latin typeface="+mj-lt"/>
                <a:ea typeface="Helvetica Neue Medium"/>
                <a:cs typeface="Helvetica Neue Medium"/>
                <a:sym typeface="Helvetica Neue Medium"/>
              </a:rPr>
              <a:t>programas de vigilancia gubernamental y de los OAL</a:t>
            </a:r>
            <a:endParaRPr kumimoji="0" lang="es-CL" sz="1400" b="1"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4" name="Rectángulo: esquinas redondeadas 3">
            <a:extLst>
              <a:ext uri="{FF2B5EF4-FFF2-40B4-BE49-F238E27FC236}">
                <a16:creationId xmlns:a16="http://schemas.microsoft.com/office/drawing/2014/main" xmlns="" id="{306BD9EC-8FAF-9D39-92F5-A8BB55D45136}"/>
              </a:ext>
            </a:extLst>
          </p:cNvPr>
          <p:cNvSpPr/>
          <p:nvPr/>
        </p:nvSpPr>
        <p:spPr>
          <a:xfrm>
            <a:off x="8794114" y="1886255"/>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Establecer criterios y forma para que los </a:t>
            </a:r>
            <a:r>
              <a:rPr lang="es-CL" sz="1400" b="1" dirty="0">
                <a:solidFill>
                  <a:schemeClr val="tx1">
                    <a:lumMod val="75000"/>
                    <a:lumOff val="25000"/>
                  </a:schemeClr>
                </a:solidFill>
                <a:latin typeface="+mj-lt"/>
                <a:ea typeface="Helvetica Neue Medium"/>
                <a:cs typeface="Helvetica Neue Medium"/>
                <a:sym typeface="Helvetica Neue Medium"/>
              </a:rPr>
              <a:t>OAL comuniquen la información de este protocolo </a:t>
            </a:r>
            <a:r>
              <a:rPr lang="es-CL" sz="1400" dirty="0">
                <a:solidFill>
                  <a:schemeClr val="tx1">
                    <a:lumMod val="75000"/>
                    <a:lumOff val="25000"/>
                  </a:schemeClr>
                </a:solidFill>
                <a:latin typeface="+mj-lt"/>
                <a:ea typeface="Helvetica Neue Medium"/>
                <a:cs typeface="Helvetica Neue Medium"/>
                <a:sym typeface="Helvetica Neue Medium"/>
              </a:rPr>
              <a:t>al sistema de evaluación y vigilancia ambiental y de salud</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
        <p:nvSpPr>
          <p:cNvPr id="5" name="Rectángulo: esquinas redondeadas 4">
            <a:extLst>
              <a:ext uri="{FF2B5EF4-FFF2-40B4-BE49-F238E27FC236}">
                <a16:creationId xmlns:a16="http://schemas.microsoft.com/office/drawing/2014/main" xmlns="" id="{52BEA39C-6EC2-B66D-18C7-67F352D6DAB7}"/>
              </a:ext>
            </a:extLst>
          </p:cNvPr>
          <p:cNvSpPr/>
          <p:nvPr/>
        </p:nvSpPr>
        <p:spPr>
          <a:xfrm>
            <a:off x="10509242" y="1886246"/>
            <a:ext cx="1615214" cy="3914775"/>
          </a:xfrm>
          <a:prstGeom prst="roundRect">
            <a:avLst/>
          </a:prstGeom>
          <a:solidFill>
            <a:schemeClr val="bg1"/>
          </a:solidFill>
          <a:ln w="19050" cap="flat">
            <a:solidFill>
              <a:schemeClr val="tx1">
                <a:lumMod val="75000"/>
                <a:lumOff val="25000"/>
              </a:schemeClr>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s-CL" sz="1400" dirty="0">
                <a:solidFill>
                  <a:schemeClr val="tx1">
                    <a:lumMod val="75000"/>
                    <a:lumOff val="25000"/>
                  </a:schemeClr>
                </a:solidFill>
                <a:latin typeface="+mj-lt"/>
                <a:ea typeface="Helvetica Neue Medium"/>
                <a:cs typeface="Helvetica Neue Medium"/>
                <a:sym typeface="Helvetica Neue Medium"/>
              </a:rPr>
              <a:t>Evaluar la </a:t>
            </a:r>
            <a:r>
              <a:rPr lang="es-CL" sz="1400" b="1" dirty="0">
                <a:solidFill>
                  <a:schemeClr val="tx1">
                    <a:lumMod val="75000"/>
                    <a:lumOff val="25000"/>
                  </a:schemeClr>
                </a:solidFill>
                <a:latin typeface="+mj-lt"/>
                <a:ea typeface="Helvetica Neue Medium"/>
                <a:cs typeface="Helvetica Neue Medium"/>
                <a:sym typeface="Helvetica Neue Medium"/>
              </a:rPr>
              <a:t>efectividad de las medidas implementadas </a:t>
            </a:r>
            <a:r>
              <a:rPr lang="es-CL" sz="1400" dirty="0">
                <a:solidFill>
                  <a:schemeClr val="tx1">
                    <a:lumMod val="75000"/>
                    <a:lumOff val="25000"/>
                  </a:schemeClr>
                </a:solidFill>
                <a:latin typeface="+mj-lt"/>
                <a:ea typeface="Helvetica Neue Medium"/>
                <a:cs typeface="Helvetica Neue Medium"/>
                <a:sym typeface="Helvetica Neue Medium"/>
              </a:rPr>
              <a:t>y realizar ajustes o modificaciones, con el objetivo de mejorar continuamente la protección de la salud de las y los trabajadores</a:t>
            </a:r>
            <a:endParaRPr kumimoji="0" lang="es-CL" sz="1400" b="0" i="0" u="none" strike="noStrike" cap="none" spc="0" normalizeH="0" baseline="0" dirty="0">
              <a:ln>
                <a:noFill/>
              </a:ln>
              <a:solidFill>
                <a:schemeClr val="tx1">
                  <a:lumMod val="75000"/>
                  <a:lumOff val="25000"/>
                </a:schemeClr>
              </a:solidFill>
              <a:effectLst/>
              <a:uFillTx/>
              <a:latin typeface="+mj-lt"/>
              <a:ea typeface="Helvetica Neue Medium"/>
              <a:cs typeface="Helvetica Neue Medium"/>
              <a:sym typeface="Helvetica Neue Medium"/>
            </a:endParaRPr>
          </a:p>
        </p:txBody>
      </p:sp>
    </p:spTree>
    <p:extLst>
      <p:ext uri="{BB962C8B-B14F-4D97-AF65-F5344CB8AC3E}">
        <p14:creationId xmlns:p14="http://schemas.microsoft.com/office/powerpoint/2010/main" val="3091049642"/>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Definiciones</a:t>
            </a: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6" name="Rectángulo: esquinas redondeadas 23">
            <a:extLst>
              <a:ext uri="{FF2B5EF4-FFF2-40B4-BE49-F238E27FC236}">
                <a16:creationId xmlns:a16="http://schemas.microsoft.com/office/drawing/2014/main" xmlns="" id="{E3EC9008-C372-DFF2-D6CB-421A2A218209}"/>
              </a:ext>
            </a:extLst>
          </p:cNvPr>
          <p:cNvSpPr/>
          <p:nvPr/>
        </p:nvSpPr>
        <p:spPr>
          <a:xfrm>
            <a:off x="589019" y="1188820"/>
            <a:ext cx="11013961" cy="1365398"/>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Trastorno Musculoesqueléticos Relacionado con el Trabajo (TMERT): </a:t>
            </a:r>
            <a:r>
              <a:rPr lang="es-CL" dirty="0">
                <a:solidFill>
                  <a:schemeClr val="tx1">
                    <a:lumMod val="75000"/>
                    <a:lumOff val="25000"/>
                  </a:schemeClr>
                </a:solidFill>
                <a:latin typeface="+mj-lt"/>
              </a:rPr>
              <a:t>Alteración de las unidades músculo- tendinosas, de los nervios periféricos o del sistema vascular, que conlleve a un diagnóstico médico de patología musculoesquelética y que su origen esté relacionado con los factores de riesgos presentes en el puesto de trabajo o actividad realizada por el trabajador o trabajadora.</a:t>
            </a:r>
            <a:endParaRPr lang="es-CL" sz="1400" dirty="0">
              <a:solidFill>
                <a:schemeClr val="tx1">
                  <a:lumMod val="75000"/>
                  <a:lumOff val="25000"/>
                </a:schemeClr>
              </a:solidFill>
              <a:latin typeface="+mj-lt"/>
            </a:endParaRPr>
          </a:p>
        </p:txBody>
      </p:sp>
      <p:sp>
        <p:nvSpPr>
          <p:cNvPr id="7" name="Rectángulo: esquinas redondeadas 23">
            <a:extLst>
              <a:ext uri="{FF2B5EF4-FFF2-40B4-BE49-F238E27FC236}">
                <a16:creationId xmlns:a16="http://schemas.microsoft.com/office/drawing/2014/main" xmlns="" id="{E3EC9008-C372-DFF2-D6CB-421A2A218209}"/>
              </a:ext>
            </a:extLst>
          </p:cNvPr>
          <p:cNvSpPr/>
          <p:nvPr/>
        </p:nvSpPr>
        <p:spPr>
          <a:xfrm>
            <a:off x="589020" y="2839843"/>
            <a:ext cx="11013961" cy="1821696"/>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Trabajador o trabajadora expuesto: </a:t>
            </a:r>
            <a:r>
              <a:rPr lang="es-CL" dirty="0">
                <a:solidFill>
                  <a:schemeClr val="tx1">
                    <a:lumMod val="75000"/>
                    <a:lumOff val="25000"/>
                  </a:schemeClr>
                </a:solidFill>
                <a:latin typeface="+mj-lt"/>
              </a:rPr>
              <a:t>Todos/as aquellos/as que se desempeñen en puestos de trabajo donde las condiciones de riesgo resulten no aceptables (crítico o medio) en la identificación avanzada. </a:t>
            </a:r>
          </a:p>
          <a:p>
            <a:pPr algn="just">
              <a:lnSpc>
                <a:spcPct val="100000"/>
              </a:lnSpc>
              <a:spcBef>
                <a:spcPts val="1200"/>
              </a:spcBef>
              <a:defRPr/>
            </a:pPr>
            <a:r>
              <a:rPr lang="es-CL" dirty="0">
                <a:solidFill>
                  <a:schemeClr val="tx1">
                    <a:lumMod val="75000"/>
                    <a:lumOff val="25000"/>
                  </a:schemeClr>
                </a:solidFill>
                <a:latin typeface="+mj-lt"/>
              </a:rPr>
              <a:t>Se considerará también trabajador/a expuesto/a aquel cuya enfermedad profesional se encuentre asociada a uno o más factores de riesgo de TMERT, según protocolo de calificación SUSESO, y aquellos que pertenezcan al mismo Grupo de Exposición Similar.</a:t>
            </a:r>
          </a:p>
        </p:txBody>
      </p:sp>
      <p:sp>
        <p:nvSpPr>
          <p:cNvPr id="9" name="Rectángulo: esquinas redondeadas 23">
            <a:extLst>
              <a:ext uri="{FF2B5EF4-FFF2-40B4-BE49-F238E27FC236}">
                <a16:creationId xmlns:a16="http://schemas.microsoft.com/office/drawing/2014/main" xmlns="" id="{E3EC9008-C372-DFF2-D6CB-421A2A218209}"/>
              </a:ext>
            </a:extLst>
          </p:cNvPr>
          <p:cNvSpPr/>
          <p:nvPr/>
        </p:nvSpPr>
        <p:spPr>
          <a:xfrm>
            <a:off x="589020" y="4947165"/>
            <a:ext cx="11013961" cy="1365398"/>
          </a:xfrm>
          <a:prstGeom prst="roundRect">
            <a:avLst/>
          </a:prstGeom>
          <a:solidFill>
            <a:schemeClr val="bg1"/>
          </a:solidFill>
          <a:ln w="28575" cap="flat">
            <a:solidFill>
              <a:srgbClr val="13C045"/>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noAutofit/>
          </a:bodyPr>
          <a:lstStyle/>
          <a:p>
            <a:pPr algn="just">
              <a:lnSpc>
                <a:spcPct val="100000"/>
              </a:lnSpc>
              <a:spcBef>
                <a:spcPts val="0"/>
              </a:spcBef>
              <a:defRPr/>
            </a:pPr>
            <a:r>
              <a:rPr lang="es-CL" b="1" dirty="0">
                <a:solidFill>
                  <a:schemeClr val="tx1">
                    <a:lumMod val="75000"/>
                    <a:lumOff val="25000"/>
                  </a:schemeClr>
                </a:solidFill>
                <a:latin typeface="+mj-lt"/>
              </a:rPr>
              <a:t>Grupo de exposición similar (GES</a:t>
            </a:r>
            <a:r>
              <a:rPr lang="es-CL" b="1" dirty="0" smtClean="0">
                <a:solidFill>
                  <a:schemeClr val="tx1">
                    <a:lumMod val="75000"/>
                    <a:lumOff val="25000"/>
                  </a:schemeClr>
                </a:solidFill>
                <a:latin typeface="+mj-lt"/>
              </a:rPr>
              <a:t>): </a:t>
            </a:r>
            <a:r>
              <a:rPr lang="es-CL" dirty="0">
                <a:solidFill>
                  <a:schemeClr val="tx1">
                    <a:lumMod val="75000"/>
                    <a:lumOff val="25000"/>
                  </a:schemeClr>
                </a:solidFill>
                <a:latin typeface="+mj-lt"/>
              </a:rPr>
              <a:t>Grupo de trabajadores/as que comparten el mismo perfil de exposición general a un determinado factor de riesgo, debido a la similitud y frecuencia de la(s) tarea(s) que realizan, la similitud de los materiales y procesos con los que trabajan y la similitud del modo en que realiza(n) la(s) tarea(s).</a:t>
            </a:r>
          </a:p>
        </p:txBody>
      </p:sp>
    </p:spTree>
    <p:extLst>
      <p:ext uri="{BB962C8B-B14F-4D97-AF65-F5344CB8AC3E}">
        <p14:creationId xmlns:p14="http://schemas.microsoft.com/office/powerpoint/2010/main" val="2300063478"/>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755"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xmlns=""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s-ES" sz="3200" b="1" i="0" u="none" strike="noStrike" kern="0" cap="none" spc="0" normalizeH="0" baseline="0" noProof="0" dirty="0">
              <a:ln>
                <a:noFill/>
              </a:ln>
              <a:solidFill>
                <a:srgbClr val="FFFFFF"/>
              </a:solidFill>
              <a:effectLst/>
              <a:uLnTx/>
              <a:uFillTx/>
              <a:latin typeface="Arial" panose="020B0604020202020204" pitchFamily="34" charset="0"/>
              <a:ea typeface="Helvetica Neue Medium"/>
              <a:cs typeface="Helvetica Neue Medium"/>
              <a:sym typeface="Arial" panose="020B0604020202020204" pitchFamily="34" charset="0"/>
            </a:endParaRPr>
          </a:p>
        </p:txBody>
      </p:sp>
      <p:pic>
        <p:nvPicPr>
          <p:cNvPr id="26" name="Picture 2">
            <a:extLst>
              <a:ext uri="{FF2B5EF4-FFF2-40B4-BE49-F238E27FC236}">
                <a16:creationId xmlns:a16="http://schemas.microsoft.com/office/drawing/2014/main" xmlns=""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marL="0" marR="0" lvl="0" indent="0" algn="l" defTabSz="825500" rtl="0" eaLnBrk="1" fontAlgn="auto" latinLnBrk="0" hangingPunct="0">
              <a:lnSpc>
                <a:spcPct val="90000"/>
              </a:lnSpc>
              <a:spcBef>
                <a:spcPts val="0"/>
              </a:spcBef>
              <a:spcAft>
                <a:spcPts val="0"/>
              </a:spcAft>
              <a:buClrTx/>
              <a:buSzTx/>
              <a:buFontTx/>
              <a:buNone/>
              <a:tabLst/>
              <a:defRPr/>
            </a:pPr>
            <a:endParaRPr kumimoji="0" sz="4800" b="1" i="0" u="none" strike="noStrike" kern="0" cap="none" spc="0" normalizeH="0" baseline="0" noProof="0" dirty="0">
              <a:ln>
                <a:noFill/>
              </a:ln>
              <a:solidFill>
                <a:srgbClr val="FFFFFF"/>
              </a:solidFill>
              <a:effectLst/>
              <a:uLnTx/>
              <a:uFillTx/>
              <a:latin typeface="Arial"/>
              <a:cs typeface="Arial"/>
              <a:sym typeface="Arial"/>
            </a:endParaRPr>
          </a:p>
        </p:txBody>
      </p:sp>
      <p:sp>
        <p:nvSpPr>
          <p:cNvPr id="27" name="Título 1">
            <a:extLst>
              <a:ext uri="{FF2B5EF4-FFF2-40B4-BE49-F238E27FC236}">
                <a16:creationId xmlns:a16="http://schemas.microsoft.com/office/drawing/2014/main" xmlns=""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a16="http://schemas.microsoft.com/office/drawing/2014/main" xmlns="" id="{81023AC9-736B-C44E-8D8C-45AC06343DCA}"/>
              </a:ext>
            </a:extLst>
          </p:cNvPr>
          <p:cNvSpPr txBox="1">
            <a:spLocks/>
          </p:cNvSpPr>
          <p:nvPr/>
        </p:nvSpPr>
        <p:spPr>
          <a:xfrm>
            <a:off x="6555556" y="4283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a16="http://schemas.microsoft.com/office/drawing/2014/main" xmlns="" id="{F06EA527-CC12-6245-9685-5326715D2025}"/>
              </a:ext>
            </a:extLst>
          </p:cNvPr>
          <p:cNvSpPr txBox="1">
            <a:spLocks/>
          </p:cNvSpPr>
          <p:nvPr/>
        </p:nvSpPr>
        <p:spPr>
          <a:xfrm>
            <a:off x="6589801" y="1438748"/>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a16="http://schemas.microsoft.com/office/drawing/2014/main" xmlns="" id="{ACA36803-04DE-104D-BE5D-C1B93843A514}"/>
              </a:ext>
            </a:extLst>
          </p:cNvPr>
          <p:cNvSpPr txBox="1">
            <a:spLocks/>
          </p:cNvSpPr>
          <p:nvPr/>
        </p:nvSpPr>
        <p:spPr>
          <a:xfrm>
            <a:off x="6589801" y="2497624"/>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a16="http://schemas.microsoft.com/office/drawing/2014/main" xmlns="" id="{97AB4DA0-1A33-9841-A3A8-96142A86342F}"/>
              </a:ext>
            </a:extLst>
          </p:cNvPr>
          <p:cNvSpPr txBox="1">
            <a:spLocks/>
          </p:cNvSpPr>
          <p:nvPr/>
        </p:nvSpPr>
        <p:spPr>
          <a:xfrm>
            <a:off x="7155534" y="267088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Responsabilidades y Difusión</a:t>
            </a:r>
            <a:endParaRPr lang="es-CL" dirty="0">
              <a:solidFill>
                <a:srgbClr val="006D36"/>
              </a:solidFill>
            </a:endParaRPr>
          </a:p>
        </p:txBody>
      </p:sp>
      <p:sp>
        <p:nvSpPr>
          <p:cNvPr id="32" name="Marcador de texto 7">
            <a:extLst>
              <a:ext uri="{FF2B5EF4-FFF2-40B4-BE49-F238E27FC236}">
                <a16:creationId xmlns:a16="http://schemas.microsoft.com/office/drawing/2014/main" xmlns="" id="{15DB9E6A-BE2E-314D-BE67-7FC237D93197}"/>
              </a:ext>
            </a:extLst>
          </p:cNvPr>
          <p:cNvSpPr txBox="1">
            <a:spLocks/>
          </p:cNvSpPr>
          <p:nvPr/>
        </p:nvSpPr>
        <p:spPr>
          <a:xfrm>
            <a:off x="7204384" y="168583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dirty="0" smtClean="0">
                <a:solidFill>
                  <a:srgbClr val="006D36"/>
                </a:solidFill>
              </a:rPr>
              <a:t>Objetivos y Definiciones Generales</a:t>
            </a:r>
            <a:endParaRPr lang="es-CL" dirty="0">
              <a:solidFill>
                <a:srgbClr val="006D36"/>
              </a:solidFill>
            </a:endParaRPr>
          </a:p>
        </p:txBody>
      </p:sp>
      <p:sp>
        <p:nvSpPr>
          <p:cNvPr id="33" name="Marcador de texto 7">
            <a:extLst>
              <a:ext uri="{FF2B5EF4-FFF2-40B4-BE49-F238E27FC236}">
                <a16:creationId xmlns:a16="http://schemas.microsoft.com/office/drawing/2014/main" xmlns="" id="{E1687406-101E-9745-AC62-F55C337E9FB1}"/>
              </a:ext>
            </a:extLst>
          </p:cNvPr>
          <p:cNvSpPr txBox="1">
            <a:spLocks/>
          </p:cNvSpPr>
          <p:nvPr/>
        </p:nvSpPr>
        <p:spPr>
          <a:xfrm>
            <a:off x="7189780" y="695637"/>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 y Actualización Protocolo TMERT</a:t>
            </a:r>
            <a:endParaRPr lang="es-ES" dirty="0">
              <a:solidFill>
                <a:srgbClr val="006D36"/>
              </a:solidFill>
            </a:endParaRPr>
          </a:p>
        </p:txBody>
      </p:sp>
      <p:sp>
        <p:nvSpPr>
          <p:cNvPr id="35" name="Marcador de texto 7">
            <a:extLst>
              <a:ext uri="{FF2B5EF4-FFF2-40B4-BE49-F238E27FC236}">
                <a16:creationId xmlns:a16="http://schemas.microsoft.com/office/drawing/2014/main" xmlns="" id="{BD2BEA51-01A2-B345-854C-0167EFEF50F9}"/>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dirty="0">
              <a:solidFill>
                <a:srgbClr val="006D36"/>
              </a:solidFill>
            </a:endParaRPr>
          </a:p>
        </p:txBody>
      </p:sp>
      <p:sp>
        <p:nvSpPr>
          <p:cNvPr id="16" name="Marcador de texto 4">
            <a:extLst>
              <a:ext uri="{FF2B5EF4-FFF2-40B4-BE49-F238E27FC236}">
                <a16:creationId xmlns:a16="http://schemas.microsoft.com/office/drawing/2014/main" xmlns="" id="{5A6A1ADA-6530-9B3A-1CB0-F3FA20927AAC}"/>
              </a:ext>
            </a:extLst>
          </p:cNvPr>
          <p:cNvSpPr txBox="1">
            <a:spLocks/>
          </p:cNvSpPr>
          <p:nvPr/>
        </p:nvSpPr>
        <p:spPr>
          <a:xfrm>
            <a:off x="6589801" y="357663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7" name="Marcador de texto 7">
            <a:extLst>
              <a:ext uri="{FF2B5EF4-FFF2-40B4-BE49-F238E27FC236}">
                <a16:creationId xmlns:a16="http://schemas.microsoft.com/office/drawing/2014/main" xmlns="" id="{237433CE-D5EA-10B1-C463-CB1427372DE6}"/>
              </a:ext>
            </a:extLst>
          </p:cNvPr>
          <p:cNvSpPr txBox="1">
            <a:spLocks/>
          </p:cNvSpPr>
          <p:nvPr/>
        </p:nvSpPr>
        <p:spPr>
          <a:xfrm>
            <a:off x="7155533" y="3741205"/>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Vigilancia </a:t>
            </a:r>
            <a:r>
              <a:rPr lang="es-ES" dirty="0" smtClean="0">
                <a:solidFill>
                  <a:srgbClr val="006D36"/>
                </a:solidFill>
              </a:rPr>
              <a:t>Ambiental</a:t>
            </a:r>
            <a:endParaRPr lang="es-CL" dirty="0">
              <a:solidFill>
                <a:srgbClr val="006D36"/>
              </a:solidFill>
            </a:endParaRPr>
          </a:p>
        </p:txBody>
      </p:sp>
      <p:sp>
        <p:nvSpPr>
          <p:cNvPr id="18" name="Marcador de texto 7">
            <a:extLst>
              <a:ext uri="{FF2B5EF4-FFF2-40B4-BE49-F238E27FC236}">
                <a16:creationId xmlns:a16="http://schemas.microsoft.com/office/drawing/2014/main" xmlns="" id="{7A517885-FFEE-4850-987F-2D89EB73F1B0}"/>
              </a:ext>
            </a:extLst>
          </p:cNvPr>
          <p:cNvSpPr txBox="1">
            <a:spLocks/>
          </p:cNvSpPr>
          <p:nvPr/>
        </p:nvSpPr>
        <p:spPr>
          <a:xfrm>
            <a:off x="7155532" y="4707812"/>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Metodología </a:t>
            </a:r>
            <a:r>
              <a:rPr lang="es-ES" dirty="0">
                <a:solidFill>
                  <a:srgbClr val="006D36"/>
                </a:solidFill>
              </a:rPr>
              <a:t>P</a:t>
            </a:r>
            <a:r>
              <a:rPr lang="es-ES" dirty="0" smtClean="0">
                <a:solidFill>
                  <a:srgbClr val="006D36"/>
                </a:solidFill>
              </a:rPr>
              <a:t>rotocolo </a:t>
            </a:r>
            <a:r>
              <a:rPr lang="es-ES" dirty="0">
                <a:solidFill>
                  <a:srgbClr val="006D36"/>
                </a:solidFill>
              </a:rPr>
              <a:t>TMERT</a:t>
            </a:r>
            <a:endParaRPr lang="es-CL" dirty="0">
              <a:solidFill>
                <a:srgbClr val="006D36"/>
              </a:solidFill>
            </a:endParaRPr>
          </a:p>
        </p:txBody>
      </p:sp>
      <p:sp>
        <p:nvSpPr>
          <p:cNvPr id="2" name="Marcador de texto 4">
            <a:extLst>
              <a:ext uri="{FF2B5EF4-FFF2-40B4-BE49-F238E27FC236}">
                <a16:creationId xmlns:a16="http://schemas.microsoft.com/office/drawing/2014/main" xmlns="" id="{1CD1BADE-F050-F612-852B-62DF1B21392F}"/>
              </a:ext>
            </a:extLst>
          </p:cNvPr>
          <p:cNvSpPr txBox="1">
            <a:spLocks/>
          </p:cNvSpPr>
          <p:nvPr/>
        </p:nvSpPr>
        <p:spPr>
          <a:xfrm>
            <a:off x="6604406" y="4491692"/>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5</a:t>
            </a:r>
            <a:endParaRPr lang="es-CL" dirty="0">
              <a:solidFill>
                <a:srgbClr val="7EFF45"/>
              </a:solidFill>
            </a:endParaRPr>
          </a:p>
        </p:txBody>
      </p:sp>
    </p:spTree>
    <p:extLst>
      <p:ext uri="{BB962C8B-B14F-4D97-AF65-F5344CB8AC3E}">
        <p14:creationId xmlns:p14="http://schemas.microsoft.com/office/powerpoint/2010/main" val="3312588276"/>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xmlns=""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Responsabilidades</a:t>
            </a:r>
          </a:p>
        </p:txBody>
      </p:sp>
      <p:sp>
        <p:nvSpPr>
          <p:cNvPr id="9" name="Marcador de texto 7">
            <a:extLst>
              <a:ext uri="{FF2B5EF4-FFF2-40B4-BE49-F238E27FC236}">
                <a16:creationId xmlns:a16="http://schemas.microsoft.com/office/drawing/2014/main" xmlns="" id="{5EF7F189-5C98-BB41-B9E6-CD55ED441D8B}"/>
              </a:ext>
            </a:extLst>
          </p:cNvPr>
          <p:cNvSpPr txBox="1">
            <a:spLocks/>
          </p:cNvSpPr>
          <p:nvPr/>
        </p:nvSpPr>
        <p:spPr>
          <a:xfrm>
            <a:off x="527640" y="1150485"/>
            <a:ext cx="9978031"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b="1" dirty="0">
                <a:solidFill>
                  <a:srgbClr val="006D36"/>
                </a:solidFill>
              </a:rPr>
              <a:t>Empresas</a:t>
            </a:r>
            <a:endParaRPr lang="es-CL" b="1" dirty="0">
              <a:solidFill>
                <a:srgbClr val="006D36"/>
              </a:solidFill>
            </a:endParaRPr>
          </a:p>
        </p:txBody>
      </p:sp>
      <p:cxnSp>
        <p:nvCxnSpPr>
          <p:cNvPr id="11" name="Conector recto 18">
            <a:extLst>
              <a:ext uri="{FF2B5EF4-FFF2-40B4-BE49-F238E27FC236}">
                <a16:creationId xmlns:a16="http://schemas.microsoft.com/office/drawing/2014/main" xmlns=""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xmlns=""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2" name="Marcador de texto 9">
            <a:extLst>
              <a:ext uri="{FF2B5EF4-FFF2-40B4-BE49-F238E27FC236}">
                <a16:creationId xmlns:a16="http://schemas.microsoft.com/office/drawing/2014/main" xmlns="" id="{3CC00F5D-5FE6-DA1C-29BA-656A116F4AFB}"/>
              </a:ext>
            </a:extLst>
          </p:cNvPr>
          <p:cNvSpPr txBox="1">
            <a:spLocks/>
          </p:cNvSpPr>
          <p:nvPr/>
        </p:nvSpPr>
        <p:spPr>
          <a:xfrm>
            <a:off x="436564" y="1507198"/>
            <a:ext cx="5415596" cy="3077766"/>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indent="0" algn="just">
              <a:lnSpc>
                <a:spcPct val="100000"/>
              </a:lnSpc>
              <a:defRPr/>
            </a:pPr>
            <a:r>
              <a:rPr lang="es-CL" sz="1800" dirty="0">
                <a:solidFill>
                  <a:schemeClr val="bg1">
                    <a:lumMod val="50000"/>
                  </a:schemeClr>
                </a:solidFill>
              </a:rPr>
              <a:t>El empleador, como lo determina la </a:t>
            </a:r>
            <a:r>
              <a:rPr lang="es-CL" sz="1800" b="1" dirty="0">
                <a:solidFill>
                  <a:schemeClr val="bg1">
                    <a:lumMod val="50000"/>
                  </a:schemeClr>
                </a:solidFill>
              </a:rPr>
              <a:t>Ley 16.744, en su artículo Nº68 </a:t>
            </a:r>
            <a:r>
              <a:rPr lang="es-CL" sz="1800" dirty="0">
                <a:solidFill>
                  <a:schemeClr val="bg1">
                    <a:lumMod val="50000"/>
                  </a:schemeClr>
                </a:solidFill>
              </a:rPr>
              <a:t>deberá:</a:t>
            </a: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a:p>
            <a:pPr marL="0" indent="0" algn="just">
              <a:lnSpc>
                <a:spcPct val="100000"/>
              </a:lnSpc>
              <a:defRPr/>
            </a:pPr>
            <a:endParaRPr lang="es-CL" sz="1800" dirty="0">
              <a:solidFill>
                <a:schemeClr val="bg1">
                  <a:lumMod val="50000"/>
                </a:schemeClr>
              </a:solidFill>
            </a:endParaRPr>
          </a:p>
          <a:p>
            <a:pPr marL="0" indent="0" algn="just">
              <a:lnSpc>
                <a:spcPct val="100000"/>
              </a:lnSpc>
              <a:defRPr/>
            </a:pPr>
            <a:r>
              <a:rPr lang="es-CL" sz="1800" dirty="0">
                <a:solidFill>
                  <a:schemeClr val="bg1">
                    <a:lumMod val="50000"/>
                  </a:schemeClr>
                </a:solidFill>
              </a:rPr>
              <a:t>A si también, en el </a:t>
            </a:r>
            <a:r>
              <a:rPr lang="es-CL" sz="1800" b="1" dirty="0">
                <a:solidFill>
                  <a:schemeClr val="bg1">
                    <a:lumMod val="50000"/>
                  </a:schemeClr>
                </a:solidFill>
              </a:rPr>
              <a:t>Decreto Supremo N°40, en su artículo N°21</a:t>
            </a:r>
            <a:r>
              <a:rPr lang="es-CL" sz="1800" dirty="0">
                <a:solidFill>
                  <a:schemeClr val="bg1">
                    <a:lumMod val="50000"/>
                  </a:schemeClr>
                </a:solidFill>
              </a:rPr>
              <a:t>, se establece que deberá:</a:t>
            </a:r>
          </a:p>
        </p:txBody>
      </p:sp>
      <p:pic>
        <p:nvPicPr>
          <p:cNvPr id="5" name="Imagen 4">
            <a:extLst>
              <a:ext uri="{FF2B5EF4-FFF2-40B4-BE49-F238E27FC236}">
                <a16:creationId xmlns:a16="http://schemas.microsoft.com/office/drawing/2014/main" xmlns="" id="{D37AFA6B-05E6-56E8-D2E3-4604367F2D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65084" y="2531657"/>
            <a:ext cx="5521234" cy="3245525"/>
          </a:xfrm>
          <a:prstGeom prst="rect">
            <a:avLst/>
          </a:prstGeom>
        </p:spPr>
      </p:pic>
      <p:sp>
        <p:nvSpPr>
          <p:cNvPr id="2" name="Rectángulo redondeado 1"/>
          <p:cNvSpPr/>
          <p:nvPr/>
        </p:nvSpPr>
        <p:spPr>
          <a:xfrm>
            <a:off x="202922" y="2192976"/>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Implementar todas las medidas de Higiene y Seguridad en el trabajo que le prescriba el Organismo Administrador a que se encuentren afectas</a:t>
            </a:r>
            <a:endParaRPr kumimoji="0" lang="es-CL" sz="1400" b="0" i="0" u="none" strike="noStrike" cap="none" spc="0" normalizeH="0" baseline="0" dirty="0">
              <a:ln>
                <a:noFill/>
              </a:ln>
              <a:solidFill>
                <a:srgbClr val="FFFFFF"/>
              </a:solidFill>
              <a:effectLst/>
              <a:uFillTx/>
              <a:ea typeface="Helvetica Neue Medium"/>
              <a:cs typeface="Helvetica Neue Medium"/>
              <a:sym typeface="Helvetica Neue Medium"/>
            </a:endParaRPr>
          </a:p>
        </p:txBody>
      </p:sp>
      <p:sp>
        <p:nvSpPr>
          <p:cNvPr id="10" name="Rectángulo redondeado 9"/>
          <p:cNvSpPr/>
          <p:nvPr/>
        </p:nvSpPr>
        <p:spPr>
          <a:xfrm>
            <a:off x="3226034" y="2218853"/>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Mantener actualizados los programas de gestión del riesgo, donde deben estar considerados los riesgos específicos para TMERT</a:t>
            </a:r>
            <a:endParaRPr lang="es-CL" sz="1400" dirty="0">
              <a:solidFill>
                <a:srgbClr val="FFFFFF"/>
              </a:solidFill>
              <a:ea typeface="Helvetica Neue Medium"/>
              <a:cs typeface="Helvetica Neue Medium"/>
              <a:sym typeface="Helvetica Neue Medium"/>
            </a:endParaRPr>
          </a:p>
        </p:txBody>
      </p:sp>
      <p:sp>
        <p:nvSpPr>
          <p:cNvPr id="12" name="Rectángulo redondeado 11"/>
          <p:cNvSpPr/>
          <p:nvPr/>
        </p:nvSpPr>
        <p:spPr>
          <a:xfrm>
            <a:off x="1668362" y="4684311"/>
            <a:ext cx="2952000" cy="1305322"/>
          </a:xfrm>
          <a:prstGeom prst="roundRect">
            <a:avLst/>
          </a:prstGeom>
          <a:solidFill>
            <a:srgbClr val="13C045"/>
          </a:solidFill>
          <a:ln w="12700" cap="flat">
            <a:solidFill>
              <a:srgbClr val="13C04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MX" sz="1400" dirty="0">
                <a:solidFill>
                  <a:srgbClr val="FFFFFF"/>
                </a:solidFill>
                <a:ea typeface="Helvetica Neue Medium"/>
                <a:cs typeface="Helvetica Neue Medium"/>
                <a:sym typeface="Helvetica Neue Medium"/>
              </a:rPr>
              <a:t>M</a:t>
            </a:r>
            <a:r>
              <a:rPr lang="es-MX" sz="1400" dirty="0" smtClean="0">
                <a:solidFill>
                  <a:srgbClr val="FFFFFF"/>
                </a:solidFill>
                <a:ea typeface="Helvetica Neue Medium"/>
                <a:cs typeface="Helvetica Neue Medium"/>
                <a:sym typeface="Helvetica Neue Medium"/>
              </a:rPr>
              <a:t>antener </a:t>
            </a:r>
            <a:r>
              <a:rPr lang="es-MX" sz="1400" dirty="0">
                <a:solidFill>
                  <a:srgbClr val="FFFFFF"/>
                </a:solidFill>
                <a:ea typeface="Helvetica Neue Medium"/>
                <a:cs typeface="Helvetica Neue Medium"/>
                <a:sym typeface="Helvetica Neue Medium"/>
              </a:rPr>
              <a:t>informados a sus trabajadores sobre los  riesgos a los que está expuesto y entregarles información sobre prevención correspondiente</a:t>
            </a:r>
            <a:endParaRPr lang="es-CL" sz="1400" dirty="0">
              <a:solidFill>
                <a:srgbClr val="FFFFFF"/>
              </a:solidFill>
              <a:ea typeface="Helvetica Neue Medium"/>
              <a:cs typeface="Helvetica Neue Medium"/>
              <a:sym typeface="Helvetica Neue Medium"/>
            </a:endParaRPr>
          </a:p>
        </p:txBody>
      </p:sp>
    </p:spTree>
    <p:extLst>
      <p:ext uri="{BB962C8B-B14F-4D97-AF65-F5344CB8AC3E}">
        <p14:creationId xmlns:p14="http://schemas.microsoft.com/office/powerpoint/2010/main" val="2246283776"/>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6.08274838900000069941E+00&quot;&gt;&lt;m_msothmcolidx val=&quot;0&quot;/&gt;&lt;m_rgb r=&quot;FC&quot; g=&quot;95&quot; b=&quot;2E&quot;/&gt;&lt;/elem&gt;&lt;elem m_fUsage=&quot;1.52653860316424361265E+00&quot;&gt;&lt;m_msothmcolidx val=&quot;0&quot;/&gt;&lt;m_rgb r=&quot;FD&quot; g=&quot;99&quot; b=&quot;35&quot;/&gt;&lt;/elem&gt;&lt;elem m_fUsage=&quot;5.54569572194649307306E-01&quot;&gt;&lt;m_msothmcolidx val=&quot;0&quot;/&gt;&lt;m_rgb r=&quot;7A&quot; g=&quot;BD&quot; b=&quot;26&quot;/&gt;&lt;/elem&gt;&lt;elem m_fUsage=&quot;4.39488601718084181957E-01&quot;&gt;&lt;m_msothmcolidx val=&quot;0&quot;/&gt;&lt;m_rgb r=&quot;F3&quot; g=&quot;7D&quot; b=&quot;1E&quot;/&gt;&lt;/elem&gt;&lt;elem m_fUsage=&quot;3.13810596090000171188E-01&quot;&gt;&lt;m_msothmcolidx val=&quot;0&quot;/&gt;&lt;m_rgb r=&quot;00&quot; g=&quot;66&quot; b=&quot;1C&quot;/&gt;&lt;/elem&gt;&lt;elem m_fUsage=&quot;1.51556241846057815348E-01&quot;&gt;&lt;m_msothmcolidx val=&quot;0&quot;/&gt;&lt;m_rgb r=&quot;FD&quot; g=&quot;B1&quot; b=&quot;66&quot;/&gt;&lt;/elem&gt;&lt;elem m_fUsage=&quot;1.50094635296999207030E-01&quot;&gt;&lt;m_msothmcolidx val=&quot;0&quot;/&gt;&lt;m_rgb r=&quot;19&quot; g=&quot;5A&quot; b=&quot;28&quot;/&gt;&lt;/elem&gt;&lt;elem m_fUsage=&quot;1.35085171767299283552E-01&quot;&gt;&lt;m_msothmcolidx val=&quot;0&quot;/&gt;&lt;m_rgb r=&quot;00&quot; g=&quot;85&quot; b=&quot;7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921</TotalTime>
  <Words>1682</Words>
  <Application>Microsoft Office PowerPoint</Application>
  <PresentationFormat>Panorámica</PresentationFormat>
  <Paragraphs>178</Paragraphs>
  <Slides>30</Slides>
  <Notes>0</Notes>
  <HiddenSlides>0</HiddenSlides>
  <MMClips>0</MMClips>
  <ScaleCrop>false</ScaleCrop>
  <HeadingPairs>
    <vt:vector size="8" baseType="variant">
      <vt:variant>
        <vt:lpstr>Fuentes usadas</vt:lpstr>
      </vt:variant>
      <vt:variant>
        <vt:i4>7</vt:i4>
      </vt:variant>
      <vt:variant>
        <vt:lpstr>Tema</vt:lpstr>
      </vt:variant>
      <vt:variant>
        <vt:i4>2</vt:i4>
      </vt:variant>
      <vt:variant>
        <vt:lpstr>Servidores OLE incrustados</vt:lpstr>
      </vt:variant>
      <vt:variant>
        <vt:i4>1</vt:i4>
      </vt:variant>
      <vt:variant>
        <vt:lpstr>Títulos de diapositiva</vt:lpstr>
      </vt:variant>
      <vt:variant>
        <vt:i4>30</vt:i4>
      </vt:variant>
    </vt:vector>
  </HeadingPairs>
  <TitlesOfParts>
    <vt:vector size="40" baseType="lpstr">
      <vt:lpstr>Arial</vt:lpstr>
      <vt:lpstr>Calibri</vt:lpstr>
      <vt:lpstr>Courier New</vt:lpstr>
      <vt:lpstr>Helvetica Neue Medium</vt:lpstr>
      <vt:lpstr>Open Sans</vt:lpstr>
      <vt:lpstr>Tahoma</vt:lpstr>
      <vt:lpstr>Wingdings</vt:lpstr>
      <vt:lpstr>Portadas y cierres_Achs Seguro Laboral</vt:lpstr>
      <vt:lpstr>Contenido_Achs Seguro Laboral</vt:lpstr>
      <vt:lpstr>Diapositiva de think-cell</vt:lpstr>
      <vt:lpstr>Presentación de PowerPoint</vt:lpstr>
      <vt:lpstr>Contenidos</vt:lpstr>
      <vt:lpstr>Presentación de PowerPoint</vt:lpstr>
      <vt:lpstr>Contenidos</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Contenid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Gaete López, Carolina Elizabeth</cp:lastModifiedBy>
  <cp:revision>460</cp:revision>
  <dcterms:created xsi:type="dcterms:W3CDTF">2023-07-11T20:17:04Z</dcterms:created>
  <dcterms:modified xsi:type="dcterms:W3CDTF">2024-04-18T17:13:44Z</dcterms:modified>
</cp:coreProperties>
</file>